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350" r:id="rId5"/>
    <p:sldId id="348" r:id="rId6"/>
    <p:sldId id="349" r:id="rId7"/>
  </p:sldIdLst>
  <p:sldSz cx="12192000" cy="6858000"/>
  <p:notesSz cx="6858000" cy="9144000"/>
  <p:embeddedFontLst>
    <p:embeddedFont>
      <p:font typeface="Arial Black" panose="020B0A04020102020204" pitchFamily="34" charset="0"/>
      <p:bold r:id="rId10"/>
    </p:embeddedFont>
    <p:embeddedFont>
      <p:font typeface="Graphik" panose="020B0503030202060203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59" userDrawn="1">
          <p15:clr>
            <a:srgbClr val="A4A3A4"/>
          </p15:clr>
        </p15:guide>
        <p15:guide id="2" orient="horz" pos="245" userDrawn="1">
          <p15:clr>
            <a:srgbClr val="A4A3A4"/>
          </p15:clr>
        </p15:guide>
        <p15:guide id="3" orient="horz" pos="665" userDrawn="1">
          <p15:clr>
            <a:srgbClr val="A4A3A4"/>
          </p15:clr>
        </p15:guide>
        <p15:guide id="4" orient="horz" pos="732" userDrawn="1">
          <p15:clr>
            <a:srgbClr val="A4A3A4"/>
          </p15:clr>
        </p15:guide>
        <p15:guide id="5" orient="horz" pos="4223" userDrawn="1">
          <p15:clr>
            <a:srgbClr val="A4A3A4"/>
          </p15:clr>
        </p15:guide>
        <p15:guide id="6" orient="horz" pos="4142" userDrawn="1">
          <p15:clr>
            <a:srgbClr val="A4A3A4"/>
          </p15:clr>
        </p15:guide>
        <p15:guide id="7" orient="horz" pos="4090" userDrawn="1">
          <p15:clr>
            <a:srgbClr val="A4A3A4"/>
          </p15:clr>
        </p15:guide>
        <p15:guide id="8" orient="horz" pos="811" userDrawn="1">
          <p15:clr>
            <a:srgbClr val="A4A3A4"/>
          </p15:clr>
        </p15:guide>
        <p15:guide id="9" orient="horz" pos="2451" userDrawn="1">
          <p15:clr>
            <a:srgbClr val="A4A3A4"/>
          </p15:clr>
        </p15:guide>
        <p15:guide id="10" pos="383" userDrawn="1">
          <p15:clr>
            <a:srgbClr val="A4A3A4"/>
          </p15:clr>
        </p15:guide>
        <p15:guide id="11" pos="7297" userDrawn="1">
          <p15:clr>
            <a:srgbClr val="A4A3A4"/>
          </p15:clr>
        </p15:guide>
        <p15:guide id="12" pos="3793" userDrawn="1">
          <p15:clr>
            <a:srgbClr val="A4A3A4"/>
          </p15:clr>
        </p15:guide>
        <p15:guide id="13" pos="3887" userDrawn="1">
          <p15:clr>
            <a:srgbClr val="A4A3A4"/>
          </p15:clr>
        </p15:guide>
        <p15:guide id="14" pos="3841" userDrawn="1">
          <p15:clr>
            <a:srgbClr val="A4A3A4"/>
          </p15:clr>
        </p15:guide>
        <p15:guide id="15" pos="7339" userDrawn="1">
          <p15:clr>
            <a:srgbClr val="A4A3A4"/>
          </p15:clr>
        </p15:guide>
        <p15:guide id="16" pos="2627" userDrawn="1">
          <p15:clr>
            <a:srgbClr val="A4A3A4"/>
          </p15:clr>
        </p15:guide>
        <p15:guide id="17" pos="5053" userDrawn="1">
          <p15:clr>
            <a:srgbClr val="A4A3A4"/>
          </p15:clr>
        </p15:guide>
        <p15:guide id="18" pos="4961" userDrawn="1">
          <p15:clr>
            <a:srgbClr val="A4A3A4"/>
          </p15:clr>
        </p15:guide>
        <p15:guide id="19" pos="2716" userDrawn="1">
          <p15:clr>
            <a:srgbClr val="A4A3A4"/>
          </p15:clr>
        </p15:guide>
        <p15:guide id="20" pos="3751" userDrawn="1">
          <p15:clr>
            <a:srgbClr val="A4A3A4"/>
          </p15:clr>
        </p15:guide>
        <p15:guide id="21" pos="3931" userDrawn="1">
          <p15:clr>
            <a:srgbClr val="A4A3A4"/>
          </p15:clr>
        </p15:guide>
        <p15:guide id="22" pos="2748" userDrawn="1">
          <p15:clr>
            <a:srgbClr val="A4A3A4"/>
          </p15:clr>
        </p15:guide>
        <p15:guide id="23" pos="4932" userDrawn="1">
          <p15:clr>
            <a:srgbClr val="A4A3A4"/>
          </p15:clr>
        </p15:guide>
        <p15:guide id="24" pos="2567" userDrawn="1">
          <p15:clr>
            <a:srgbClr val="A4A3A4"/>
          </p15:clr>
        </p15:guide>
        <p15:guide id="25" pos="511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LO" initials="DLO " lastIdx="2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E6F5FA"/>
    <a:srgbClr val="CF0072"/>
    <a:srgbClr val="CBCCCC"/>
    <a:srgbClr val="00BBEE"/>
    <a:srgbClr val="359B4C"/>
    <a:srgbClr val="3366FF"/>
    <a:srgbClr val="3333FF"/>
    <a:srgbClr val="009FDA"/>
    <a:srgbClr val="537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58C47E-55AF-4FD4-B993-8B655C95E773}" v="2" dt="2023-04-14T04:06:58.112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4" autoAdjust="0"/>
    <p:restoredTop sz="94674" autoAdjust="0"/>
  </p:normalViewPr>
  <p:slideViewPr>
    <p:cSldViewPr snapToGrid="0" snapToObjects="1" showGuides="1">
      <p:cViewPr varScale="1">
        <p:scale>
          <a:sx n="74" d="100"/>
          <a:sy n="74" d="100"/>
        </p:scale>
        <p:origin x="300" y="44"/>
      </p:cViewPr>
      <p:guideLst>
        <p:guide orient="horz" pos="2159"/>
        <p:guide orient="horz" pos="245"/>
        <p:guide orient="horz" pos="665"/>
        <p:guide orient="horz" pos="732"/>
        <p:guide orient="horz" pos="4223"/>
        <p:guide orient="horz" pos="4142"/>
        <p:guide orient="horz" pos="4090"/>
        <p:guide orient="horz" pos="811"/>
        <p:guide orient="horz" pos="2451"/>
        <p:guide pos="383"/>
        <p:guide pos="7297"/>
        <p:guide pos="3793"/>
        <p:guide pos="3887"/>
        <p:guide pos="3841"/>
        <p:guide pos="7339"/>
        <p:guide pos="2627"/>
        <p:guide pos="5053"/>
        <p:guide pos="4961"/>
        <p:guide pos="2716"/>
        <p:guide pos="3751"/>
        <p:guide pos="3931"/>
        <p:guide pos="2748"/>
        <p:guide pos="4932"/>
        <p:guide pos="2567"/>
        <p:guide pos="51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font" Target="fonts/font3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2.fntdata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font" Target="fonts/font1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ha, Shreya A." userId="0edae02b-1c4d-4924-8019-dd5f15a1cfbb" providerId="ADAL" clId="{C958C47E-55AF-4FD4-B993-8B655C95E773}"/>
    <pc:docChg chg="undo custSel addSld modSld sldOrd">
      <pc:chgData name="Sinha, Shreya A." userId="0edae02b-1c4d-4924-8019-dd5f15a1cfbb" providerId="ADAL" clId="{C958C47E-55AF-4FD4-B993-8B655C95E773}" dt="2023-04-14T04:11:42.723" v="1255" actId="113"/>
      <pc:docMkLst>
        <pc:docMk/>
      </pc:docMkLst>
      <pc:sldChg chg="modSp mod">
        <pc:chgData name="Sinha, Shreya A." userId="0edae02b-1c4d-4924-8019-dd5f15a1cfbb" providerId="ADAL" clId="{C958C47E-55AF-4FD4-B993-8B655C95E773}" dt="2023-04-14T04:10:36.326" v="1154" actId="1076"/>
        <pc:sldMkLst>
          <pc:docMk/>
          <pc:sldMk cId="2051525536" sldId="348"/>
        </pc:sldMkLst>
        <pc:spChg chg="mod">
          <ac:chgData name="Sinha, Shreya A." userId="0edae02b-1c4d-4924-8019-dd5f15a1cfbb" providerId="ADAL" clId="{C958C47E-55AF-4FD4-B993-8B655C95E773}" dt="2023-04-14T04:10:33.261" v="1153" actId="1076"/>
          <ac:spMkLst>
            <pc:docMk/>
            <pc:sldMk cId="2051525536" sldId="348"/>
            <ac:spMk id="6" creationId="{00000000-0000-0000-0000-000000000000}"/>
          </ac:spMkLst>
        </pc:spChg>
        <pc:graphicFrameChg chg="mod">
          <ac:chgData name="Sinha, Shreya A." userId="0edae02b-1c4d-4924-8019-dd5f15a1cfbb" providerId="ADAL" clId="{C958C47E-55AF-4FD4-B993-8B655C95E773}" dt="2023-04-14T04:10:36.326" v="1154" actId="1076"/>
          <ac:graphicFrameMkLst>
            <pc:docMk/>
            <pc:sldMk cId="2051525536" sldId="348"/>
            <ac:graphicFrameMk id="20" creationId="{00000000-0000-0000-0000-000000000000}"/>
          </ac:graphicFrameMkLst>
        </pc:graphicFrameChg>
      </pc:sldChg>
      <pc:sldChg chg="addSp modSp new mod ord">
        <pc:chgData name="Sinha, Shreya A." userId="0edae02b-1c4d-4924-8019-dd5f15a1cfbb" providerId="ADAL" clId="{C958C47E-55AF-4FD4-B993-8B655C95E773}" dt="2023-04-14T04:11:42.723" v="1255" actId="113"/>
        <pc:sldMkLst>
          <pc:docMk/>
          <pc:sldMk cId="16560954" sldId="350"/>
        </pc:sldMkLst>
        <pc:spChg chg="add mod">
          <ac:chgData name="Sinha, Shreya A." userId="0edae02b-1c4d-4924-8019-dd5f15a1cfbb" providerId="ADAL" clId="{C958C47E-55AF-4FD4-B993-8B655C95E773}" dt="2023-04-14T04:11:42.723" v="1255" actId="113"/>
          <ac:spMkLst>
            <pc:docMk/>
            <pc:sldMk cId="16560954" sldId="350"/>
            <ac:spMk id="4" creationId="{497D8978-BABB-1C59-855E-A8323F945742}"/>
          </ac:spMkLst>
        </pc:spChg>
        <pc:spChg chg="add mod">
          <ac:chgData name="Sinha, Shreya A." userId="0edae02b-1c4d-4924-8019-dd5f15a1cfbb" providerId="ADAL" clId="{C958C47E-55AF-4FD4-B993-8B655C95E773}" dt="2023-04-14T04:06:30.618" v="741" actId="20577"/>
          <ac:spMkLst>
            <pc:docMk/>
            <pc:sldMk cId="16560954" sldId="350"/>
            <ac:spMk id="6" creationId="{61E26BFC-B0CB-6804-B624-7F7415BBB36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itchFamily="34" charset="0"/>
              </a:rPr>
              <a:pPr>
                <a:defRPr/>
              </a:pPr>
              <a:t>4/20/2023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itchFamily="34" charset="0"/>
              </a:rPr>
              <a:pPr>
                <a:defRPr/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4/20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\\JBWServer\Shared\Clients\Accenture\Divyaa Modok - 14-3665 - Innovation Council framework\wrk\ref\Links\14-2392-drawingboard-v2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422" t="28577" b="50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Freeform 16"/>
          <p:cNvSpPr>
            <a:spLocks noEditPoints="1"/>
          </p:cNvSpPr>
          <p:nvPr userDrawn="1"/>
        </p:nvSpPr>
        <p:spPr bwMode="auto">
          <a:xfrm>
            <a:off x="7632171" y="915998"/>
            <a:ext cx="4017963" cy="178702"/>
          </a:xfrm>
          <a:custGeom>
            <a:avLst/>
            <a:gdLst>
              <a:gd name="T0" fmla="*/ 27 w 1199"/>
              <a:gd name="T1" fmla="*/ 3 h 71"/>
              <a:gd name="T2" fmla="*/ 1 w 1199"/>
              <a:gd name="T3" fmla="*/ 53 h 71"/>
              <a:gd name="T4" fmla="*/ 41 w 1199"/>
              <a:gd name="T5" fmla="*/ 19 h 71"/>
              <a:gd name="T6" fmla="*/ 51 w 1199"/>
              <a:gd name="T7" fmla="*/ 50 h 71"/>
              <a:gd name="T8" fmla="*/ 79 w 1199"/>
              <a:gd name="T9" fmla="*/ 18 h 71"/>
              <a:gd name="T10" fmla="*/ 91 w 1199"/>
              <a:gd name="T11" fmla="*/ 55 h 71"/>
              <a:gd name="T12" fmla="*/ 107 w 1199"/>
              <a:gd name="T13" fmla="*/ 29 h 71"/>
              <a:gd name="T14" fmla="*/ 99 w 1199"/>
              <a:gd name="T15" fmla="*/ 38 h 71"/>
              <a:gd name="T16" fmla="*/ 121 w 1199"/>
              <a:gd name="T17" fmla="*/ 10 h 71"/>
              <a:gd name="T18" fmla="*/ 135 w 1199"/>
              <a:gd name="T19" fmla="*/ 50 h 71"/>
              <a:gd name="T20" fmla="*/ 145 w 1199"/>
              <a:gd name="T21" fmla="*/ 33 h 71"/>
              <a:gd name="T22" fmla="*/ 160 w 1199"/>
              <a:gd name="T23" fmla="*/ 29 h 71"/>
              <a:gd name="T24" fmla="*/ 193 w 1199"/>
              <a:gd name="T25" fmla="*/ 19 h 71"/>
              <a:gd name="T26" fmla="*/ 193 w 1199"/>
              <a:gd name="T27" fmla="*/ 47 h 71"/>
              <a:gd name="T28" fmla="*/ 204 w 1199"/>
              <a:gd name="T29" fmla="*/ 19 h 71"/>
              <a:gd name="T30" fmla="*/ 259 w 1199"/>
              <a:gd name="T31" fmla="*/ 71 h 71"/>
              <a:gd name="T32" fmla="*/ 326 w 1199"/>
              <a:gd name="T33" fmla="*/ 28 h 71"/>
              <a:gd name="T34" fmla="*/ 302 w 1199"/>
              <a:gd name="T35" fmla="*/ 8 h 71"/>
              <a:gd name="T36" fmla="*/ 334 w 1199"/>
              <a:gd name="T37" fmla="*/ 9 h 71"/>
              <a:gd name="T38" fmla="*/ 361 w 1199"/>
              <a:gd name="T39" fmla="*/ 54 h 71"/>
              <a:gd name="T40" fmla="*/ 361 w 1199"/>
              <a:gd name="T41" fmla="*/ 69 h 71"/>
              <a:gd name="T42" fmla="*/ 355 w 1199"/>
              <a:gd name="T43" fmla="*/ 37 h 71"/>
              <a:gd name="T44" fmla="*/ 387 w 1199"/>
              <a:gd name="T45" fmla="*/ 54 h 71"/>
              <a:gd name="T46" fmla="*/ 406 w 1199"/>
              <a:gd name="T47" fmla="*/ 23 h 71"/>
              <a:gd name="T48" fmla="*/ 421 w 1199"/>
              <a:gd name="T49" fmla="*/ 23 h 71"/>
              <a:gd name="T50" fmla="*/ 445 w 1199"/>
              <a:gd name="T51" fmla="*/ 49 h 71"/>
              <a:gd name="T52" fmla="*/ 438 w 1199"/>
              <a:gd name="T53" fmla="*/ 18 h 71"/>
              <a:gd name="T54" fmla="*/ 445 w 1199"/>
              <a:gd name="T55" fmla="*/ 38 h 71"/>
              <a:gd name="T56" fmla="*/ 498 w 1199"/>
              <a:gd name="T57" fmla="*/ 0 h 71"/>
              <a:gd name="T58" fmla="*/ 556 w 1199"/>
              <a:gd name="T59" fmla="*/ 3 h 71"/>
              <a:gd name="T60" fmla="*/ 571 w 1199"/>
              <a:gd name="T61" fmla="*/ 18 h 71"/>
              <a:gd name="T62" fmla="*/ 578 w 1199"/>
              <a:gd name="T63" fmla="*/ 29 h 71"/>
              <a:gd name="T64" fmla="*/ 616 w 1199"/>
              <a:gd name="T65" fmla="*/ 29 h 71"/>
              <a:gd name="T66" fmla="*/ 643 w 1199"/>
              <a:gd name="T67" fmla="*/ 34 h 71"/>
              <a:gd name="T68" fmla="*/ 628 w 1199"/>
              <a:gd name="T69" fmla="*/ 27 h 71"/>
              <a:gd name="T70" fmla="*/ 664 w 1199"/>
              <a:gd name="T71" fmla="*/ 39 h 71"/>
              <a:gd name="T72" fmla="*/ 684 w 1199"/>
              <a:gd name="T73" fmla="*/ 29 h 71"/>
              <a:gd name="T74" fmla="*/ 716 w 1199"/>
              <a:gd name="T75" fmla="*/ 36 h 71"/>
              <a:gd name="T76" fmla="*/ 735 w 1199"/>
              <a:gd name="T77" fmla="*/ 54 h 71"/>
              <a:gd name="T78" fmla="*/ 759 w 1199"/>
              <a:gd name="T79" fmla="*/ 22 h 71"/>
              <a:gd name="T80" fmla="*/ 791 w 1199"/>
              <a:gd name="T81" fmla="*/ 18 h 71"/>
              <a:gd name="T82" fmla="*/ 781 w 1199"/>
              <a:gd name="T83" fmla="*/ 63 h 71"/>
              <a:gd name="T84" fmla="*/ 801 w 1199"/>
              <a:gd name="T85" fmla="*/ 36 h 71"/>
              <a:gd name="T86" fmla="*/ 842 w 1199"/>
              <a:gd name="T87" fmla="*/ 19 h 71"/>
              <a:gd name="T88" fmla="*/ 899 w 1199"/>
              <a:gd name="T89" fmla="*/ 28 h 71"/>
              <a:gd name="T90" fmla="*/ 917 w 1199"/>
              <a:gd name="T91" fmla="*/ 50 h 71"/>
              <a:gd name="T92" fmla="*/ 970 w 1199"/>
              <a:gd name="T93" fmla="*/ 36 h 71"/>
              <a:gd name="T94" fmla="*/ 949 w 1199"/>
              <a:gd name="T95" fmla="*/ 36 h 71"/>
              <a:gd name="T96" fmla="*/ 1003 w 1199"/>
              <a:gd name="T97" fmla="*/ 33 h 71"/>
              <a:gd name="T98" fmla="*/ 983 w 1199"/>
              <a:gd name="T99" fmla="*/ 29 h 71"/>
              <a:gd name="T100" fmla="*/ 1028 w 1199"/>
              <a:gd name="T101" fmla="*/ 23 h 71"/>
              <a:gd name="T102" fmla="*/ 1031 w 1199"/>
              <a:gd name="T103" fmla="*/ 45 h 71"/>
              <a:gd name="T104" fmla="*/ 1056 w 1199"/>
              <a:gd name="T105" fmla="*/ 54 h 71"/>
              <a:gd name="T106" fmla="*/ 1084 w 1199"/>
              <a:gd name="T107" fmla="*/ 54 h 71"/>
              <a:gd name="T108" fmla="*/ 1075 w 1199"/>
              <a:gd name="T109" fmla="*/ 7 h 71"/>
              <a:gd name="T110" fmla="*/ 1084 w 1199"/>
              <a:gd name="T111" fmla="*/ 54 h 71"/>
              <a:gd name="T112" fmla="*/ 1096 w 1199"/>
              <a:gd name="T113" fmla="*/ 19 h 71"/>
              <a:gd name="T114" fmla="*/ 1129 w 1199"/>
              <a:gd name="T115" fmla="*/ 36 h 71"/>
              <a:gd name="T116" fmla="*/ 1148 w 1199"/>
              <a:gd name="T117" fmla="*/ 39 h 71"/>
              <a:gd name="T118" fmla="*/ 1168 w 1199"/>
              <a:gd name="T119" fmla="*/ 29 h 71"/>
              <a:gd name="T120" fmla="*/ 1176 w 1199"/>
              <a:gd name="T121" fmla="*/ 27 h 71"/>
              <a:gd name="T122" fmla="*/ 1199 w 1199"/>
              <a:gd name="T123" fmla="*/ 44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99" h="71">
                <a:moveTo>
                  <a:pt x="1" y="47"/>
                </a:moveTo>
                <a:cubicBezTo>
                  <a:pt x="5" y="49"/>
                  <a:pt x="9" y="50"/>
                  <a:pt x="13" y="50"/>
                </a:cubicBezTo>
                <a:cubicBezTo>
                  <a:pt x="19" y="50"/>
                  <a:pt x="24" y="47"/>
                  <a:pt x="24" y="41"/>
                </a:cubicBezTo>
                <a:cubicBezTo>
                  <a:pt x="24" y="35"/>
                  <a:pt x="20" y="33"/>
                  <a:pt x="16" y="31"/>
                </a:cubicBezTo>
                <a:cubicBezTo>
                  <a:pt x="11" y="28"/>
                  <a:pt x="11" y="28"/>
                  <a:pt x="11" y="28"/>
                </a:cubicBezTo>
                <a:cubicBezTo>
                  <a:pt x="6" y="25"/>
                  <a:pt x="0" y="22"/>
                  <a:pt x="0" y="15"/>
                </a:cubicBezTo>
                <a:cubicBezTo>
                  <a:pt x="0" y="6"/>
                  <a:pt x="8" y="2"/>
                  <a:pt x="17" y="2"/>
                </a:cubicBezTo>
                <a:cubicBezTo>
                  <a:pt x="20" y="2"/>
                  <a:pt x="24" y="3"/>
                  <a:pt x="27" y="3"/>
                </a:cubicBezTo>
                <a:cubicBezTo>
                  <a:pt x="27" y="9"/>
                  <a:pt x="27" y="9"/>
                  <a:pt x="27" y="9"/>
                </a:cubicBezTo>
                <a:cubicBezTo>
                  <a:pt x="24" y="8"/>
                  <a:pt x="20" y="7"/>
                  <a:pt x="16" y="7"/>
                </a:cubicBezTo>
                <a:cubicBezTo>
                  <a:pt x="11" y="7"/>
                  <a:pt x="7" y="9"/>
                  <a:pt x="7" y="15"/>
                </a:cubicBezTo>
                <a:cubicBezTo>
                  <a:pt x="7" y="19"/>
                  <a:pt x="11" y="22"/>
                  <a:pt x="15" y="24"/>
                </a:cubicBezTo>
                <a:cubicBezTo>
                  <a:pt x="20" y="26"/>
                  <a:pt x="20" y="26"/>
                  <a:pt x="20" y="26"/>
                </a:cubicBezTo>
                <a:cubicBezTo>
                  <a:pt x="26" y="30"/>
                  <a:pt x="31" y="33"/>
                  <a:pt x="31" y="40"/>
                </a:cubicBezTo>
                <a:cubicBezTo>
                  <a:pt x="31" y="51"/>
                  <a:pt x="22" y="55"/>
                  <a:pt x="13" y="55"/>
                </a:cubicBezTo>
                <a:cubicBezTo>
                  <a:pt x="9" y="55"/>
                  <a:pt x="5" y="54"/>
                  <a:pt x="1" y="53"/>
                </a:cubicBezTo>
                <a:lnTo>
                  <a:pt x="1" y="47"/>
                </a:lnTo>
                <a:close/>
                <a:moveTo>
                  <a:pt x="55" y="54"/>
                </a:moveTo>
                <a:cubicBezTo>
                  <a:pt x="53" y="55"/>
                  <a:pt x="52" y="55"/>
                  <a:pt x="50" y="55"/>
                </a:cubicBezTo>
                <a:cubicBezTo>
                  <a:pt x="44" y="55"/>
                  <a:pt x="41" y="52"/>
                  <a:pt x="41" y="46"/>
                </a:cubicBezTo>
                <a:cubicBezTo>
                  <a:pt x="41" y="23"/>
                  <a:pt x="41" y="23"/>
                  <a:pt x="41" y="23"/>
                </a:cubicBezTo>
                <a:cubicBezTo>
                  <a:pt x="35" y="23"/>
                  <a:pt x="35" y="23"/>
                  <a:pt x="35" y="23"/>
                </a:cubicBezTo>
                <a:cubicBezTo>
                  <a:pt x="35" y="19"/>
                  <a:pt x="35" y="19"/>
                  <a:pt x="35" y="19"/>
                </a:cubicBezTo>
                <a:cubicBezTo>
                  <a:pt x="41" y="19"/>
                  <a:pt x="41" y="19"/>
                  <a:pt x="41" y="19"/>
                </a:cubicBezTo>
                <a:cubicBezTo>
                  <a:pt x="41" y="10"/>
                  <a:pt x="41" y="10"/>
                  <a:pt x="41" y="10"/>
                </a:cubicBezTo>
                <a:cubicBezTo>
                  <a:pt x="46" y="7"/>
                  <a:pt x="46" y="7"/>
                  <a:pt x="46" y="7"/>
                </a:cubicBezTo>
                <a:cubicBezTo>
                  <a:pt x="46" y="19"/>
                  <a:pt x="46" y="19"/>
                  <a:pt x="46" y="19"/>
                </a:cubicBezTo>
                <a:cubicBezTo>
                  <a:pt x="55" y="19"/>
                  <a:pt x="55" y="19"/>
                  <a:pt x="55" y="19"/>
                </a:cubicBezTo>
                <a:cubicBezTo>
                  <a:pt x="55" y="23"/>
                  <a:pt x="55" y="23"/>
                  <a:pt x="55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45"/>
                  <a:pt x="46" y="45"/>
                  <a:pt x="46" y="45"/>
                </a:cubicBezTo>
                <a:cubicBezTo>
                  <a:pt x="46" y="48"/>
                  <a:pt x="47" y="50"/>
                  <a:pt x="51" y="50"/>
                </a:cubicBezTo>
                <a:cubicBezTo>
                  <a:pt x="53" y="50"/>
                  <a:pt x="54" y="50"/>
                  <a:pt x="55" y="50"/>
                </a:cubicBezTo>
                <a:lnTo>
                  <a:pt x="55" y="54"/>
                </a:lnTo>
                <a:close/>
                <a:moveTo>
                  <a:pt x="62" y="54"/>
                </a:moveTo>
                <a:cubicBezTo>
                  <a:pt x="62" y="19"/>
                  <a:pt x="62" y="19"/>
                  <a:pt x="62" y="19"/>
                </a:cubicBezTo>
                <a:cubicBezTo>
                  <a:pt x="67" y="19"/>
                  <a:pt x="67" y="19"/>
                  <a:pt x="67" y="19"/>
                </a:cubicBezTo>
                <a:cubicBezTo>
                  <a:pt x="67" y="25"/>
                  <a:pt x="67" y="25"/>
                  <a:pt x="67" y="25"/>
                </a:cubicBezTo>
                <a:cubicBezTo>
                  <a:pt x="67" y="25"/>
                  <a:pt x="67" y="25"/>
                  <a:pt x="67" y="25"/>
                </a:cubicBezTo>
                <a:cubicBezTo>
                  <a:pt x="69" y="20"/>
                  <a:pt x="73" y="18"/>
                  <a:pt x="79" y="18"/>
                </a:cubicBezTo>
                <a:cubicBezTo>
                  <a:pt x="79" y="23"/>
                  <a:pt x="79" y="23"/>
                  <a:pt x="79" y="23"/>
                </a:cubicBezTo>
                <a:cubicBezTo>
                  <a:pt x="70" y="23"/>
                  <a:pt x="67" y="32"/>
                  <a:pt x="67" y="39"/>
                </a:cubicBezTo>
                <a:cubicBezTo>
                  <a:pt x="67" y="54"/>
                  <a:pt x="67" y="54"/>
                  <a:pt x="67" y="54"/>
                </a:cubicBezTo>
                <a:lnTo>
                  <a:pt x="62" y="54"/>
                </a:lnTo>
                <a:close/>
                <a:moveTo>
                  <a:pt x="102" y="54"/>
                </a:moveTo>
                <a:cubicBezTo>
                  <a:pt x="102" y="49"/>
                  <a:pt x="102" y="49"/>
                  <a:pt x="102" y="49"/>
                </a:cubicBezTo>
                <a:cubicBezTo>
                  <a:pt x="102" y="49"/>
                  <a:pt x="102" y="49"/>
                  <a:pt x="102" y="49"/>
                </a:cubicBezTo>
                <a:cubicBezTo>
                  <a:pt x="100" y="53"/>
                  <a:pt x="95" y="55"/>
                  <a:pt x="91" y="55"/>
                </a:cubicBezTo>
                <a:cubicBezTo>
                  <a:pt x="85" y="55"/>
                  <a:pt x="82" y="51"/>
                  <a:pt x="82" y="45"/>
                </a:cubicBezTo>
                <a:cubicBezTo>
                  <a:pt x="82" y="37"/>
                  <a:pt x="91" y="34"/>
                  <a:pt x="102" y="34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2" y="28"/>
                  <a:pt x="102" y="22"/>
                  <a:pt x="95" y="22"/>
                </a:cubicBezTo>
                <a:cubicBezTo>
                  <a:pt x="91" y="22"/>
                  <a:pt x="89" y="23"/>
                  <a:pt x="88" y="28"/>
                </a:cubicBezTo>
                <a:cubicBezTo>
                  <a:pt x="83" y="28"/>
                  <a:pt x="83" y="28"/>
                  <a:pt x="83" y="28"/>
                </a:cubicBezTo>
                <a:cubicBezTo>
                  <a:pt x="83" y="21"/>
                  <a:pt x="89" y="18"/>
                  <a:pt x="95" y="18"/>
                </a:cubicBezTo>
                <a:cubicBezTo>
                  <a:pt x="103" y="18"/>
                  <a:pt x="107" y="21"/>
                  <a:pt x="107" y="29"/>
                </a:cubicBezTo>
                <a:cubicBezTo>
                  <a:pt x="107" y="54"/>
                  <a:pt x="107" y="54"/>
                  <a:pt x="107" y="54"/>
                </a:cubicBezTo>
                <a:lnTo>
                  <a:pt x="102" y="54"/>
                </a:lnTo>
                <a:close/>
                <a:moveTo>
                  <a:pt x="99" y="38"/>
                </a:moveTo>
                <a:cubicBezTo>
                  <a:pt x="95" y="38"/>
                  <a:pt x="88" y="40"/>
                  <a:pt x="88" y="45"/>
                </a:cubicBezTo>
                <a:cubicBezTo>
                  <a:pt x="88" y="48"/>
                  <a:pt x="90" y="50"/>
                  <a:pt x="93" y="50"/>
                </a:cubicBezTo>
                <a:cubicBezTo>
                  <a:pt x="96" y="50"/>
                  <a:pt x="99" y="48"/>
                  <a:pt x="101" y="45"/>
                </a:cubicBezTo>
                <a:cubicBezTo>
                  <a:pt x="102" y="42"/>
                  <a:pt x="102" y="41"/>
                  <a:pt x="102" y="38"/>
                </a:cubicBezTo>
                <a:lnTo>
                  <a:pt x="99" y="38"/>
                </a:lnTo>
                <a:close/>
                <a:moveTo>
                  <a:pt x="135" y="54"/>
                </a:moveTo>
                <a:cubicBezTo>
                  <a:pt x="133" y="55"/>
                  <a:pt x="132" y="55"/>
                  <a:pt x="130" y="55"/>
                </a:cubicBezTo>
                <a:cubicBezTo>
                  <a:pt x="124" y="55"/>
                  <a:pt x="121" y="52"/>
                  <a:pt x="121" y="46"/>
                </a:cubicBezTo>
                <a:cubicBezTo>
                  <a:pt x="121" y="23"/>
                  <a:pt x="121" y="23"/>
                  <a:pt x="121" y="23"/>
                </a:cubicBezTo>
                <a:cubicBezTo>
                  <a:pt x="115" y="23"/>
                  <a:pt x="115" y="23"/>
                  <a:pt x="115" y="23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121" y="19"/>
                  <a:pt x="121" y="19"/>
                  <a:pt x="121" y="19"/>
                </a:cubicBezTo>
                <a:cubicBezTo>
                  <a:pt x="121" y="10"/>
                  <a:pt x="121" y="10"/>
                  <a:pt x="121" y="10"/>
                </a:cubicBezTo>
                <a:cubicBezTo>
                  <a:pt x="126" y="7"/>
                  <a:pt x="126" y="7"/>
                  <a:pt x="126" y="7"/>
                </a:cubicBezTo>
                <a:cubicBezTo>
                  <a:pt x="126" y="19"/>
                  <a:pt x="126" y="19"/>
                  <a:pt x="126" y="19"/>
                </a:cubicBezTo>
                <a:cubicBezTo>
                  <a:pt x="135" y="19"/>
                  <a:pt x="135" y="19"/>
                  <a:pt x="135" y="19"/>
                </a:cubicBezTo>
                <a:cubicBezTo>
                  <a:pt x="135" y="23"/>
                  <a:pt x="135" y="23"/>
                  <a:pt x="135" y="23"/>
                </a:cubicBezTo>
                <a:cubicBezTo>
                  <a:pt x="126" y="23"/>
                  <a:pt x="126" y="23"/>
                  <a:pt x="126" y="23"/>
                </a:cubicBezTo>
                <a:cubicBezTo>
                  <a:pt x="126" y="45"/>
                  <a:pt x="126" y="45"/>
                  <a:pt x="126" y="45"/>
                </a:cubicBezTo>
                <a:cubicBezTo>
                  <a:pt x="126" y="48"/>
                  <a:pt x="127" y="50"/>
                  <a:pt x="131" y="50"/>
                </a:cubicBezTo>
                <a:cubicBezTo>
                  <a:pt x="133" y="50"/>
                  <a:pt x="133" y="50"/>
                  <a:pt x="135" y="50"/>
                </a:cubicBezTo>
                <a:lnTo>
                  <a:pt x="135" y="54"/>
                </a:lnTo>
                <a:close/>
                <a:moveTo>
                  <a:pt x="165" y="54"/>
                </a:moveTo>
                <a:cubicBezTo>
                  <a:pt x="162" y="54"/>
                  <a:pt x="160" y="55"/>
                  <a:pt x="157" y="55"/>
                </a:cubicBezTo>
                <a:cubicBezTo>
                  <a:pt x="145" y="55"/>
                  <a:pt x="140" y="47"/>
                  <a:pt x="140" y="35"/>
                </a:cubicBezTo>
                <a:cubicBezTo>
                  <a:pt x="140" y="26"/>
                  <a:pt x="143" y="18"/>
                  <a:pt x="153" y="18"/>
                </a:cubicBezTo>
                <a:cubicBezTo>
                  <a:pt x="162" y="18"/>
                  <a:pt x="166" y="23"/>
                  <a:pt x="166" y="31"/>
                </a:cubicBezTo>
                <a:cubicBezTo>
                  <a:pt x="166" y="33"/>
                  <a:pt x="166" y="33"/>
                  <a:pt x="166" y="33"/>
                </a:cubicBezTo>
                <a:cubicBezTo>
                  <a:pt x="145" y="33"/>
                  <a:pt x="145" y="33"/>
                  <a:pt x="145" y="33"/>
                </a:cubicBezTo>
                <a:cubicBezTo>
                  <a:pt x="145" y="35"/>
                  <a:pt x="145" y="35"/>
                  <a:pt x="145" y="35"/>
                </a:cubicBezTo>
                <a:cubicBezTo>
                  <a:pt x="145" y="43"/>
                  <a:pt x="149" y="50"/>
                  <a:pt x="158" y="50"/>
                </a:cubicBezTo>
                <a:cubicBezTo>
                  <a:pt x="160" y="50"/>
                  <a:pt x="163" y="50"/>
                  <a:pt x="165" y="49"/>
                </a:cubicBezTo>
                <a:lnTo>
                  <a:pt x="165" y="54"/>
                </a:lnTo>
                <a:close/>
                <a:moveTo>
                  <a:pt x="160" y="29"/>
                </a:moveTo>
                <a:cubicBezTo>
                  <a:pt x="160" y="25"/>
                  <a:pt x="157" y="22"/>
                  <a:pt x="153" y="22"/>
                </a:cubicBezTo>
                <a:cubicBezTo>
                  <a:pt x="149" y="22"/>
                  <a:pt x="147" y="25"/>
                  <a:pt x="146" y="29"/>
                </a:cubicBezTo>
                <a:lnTo>
                  <a:pt x="160" y="29"/>
                </a:lnTo>
                <a:close/>
                <a:moveTo>
                  <a:pt x="193" y="47"/>
                </a:moveTo>
                <a:cubicBezTo>
                  <a:pt x="193" y="47"/>
                  <a:pt x="193" y="47"/>
                  <a:pt x="193" y="47"/>
                </a:cubicBezTo>
                <a:cubicBezTo>
                  <a:pt x="191" y="51"/>
                  <a:pt x="188" y="54"/>
                  <a:pt x="183" y="54"/>
                </a:cubicBezTo>
                <a:cubicBezTo>
                  <a:pt x="174" y="54"/>
                  <a:pt x="172" y="44"/>
                  <a:pt x="172" y="36"/>
                </a:cubicBezTo>
                <a:cubicBezTo>
                  <a:pt x="172" y="29"/>
                  <a:pt x="174" y="18"/>
                  <a:pt x="184" y="18"/>
                </a:cubicBezTo>
                <a:cubicBezTo>
                  <a:pt x="188" y="18"/>
                  <a:pt x="192" y="20"/>
                  <a:pt x="193" y="24"/>
                </a:cubicBezTo>
                <a:cubicBezTo>
                  <a:pt x="193" y="24"/>
                  <a:pt x="193" y="24"/>
                  <a:pt x="193" y="24"/>
                </a:cubicBezTo>
                <a:cubicBezTo>
                  <a:pt x="193" y="19"/>
                  <a:pt x="193" y="19"/>
                  <a:pt x="193" y="19"/>
                </a:cubicBezTo>
                <a:cubicBezTo>
                  <a:pt x="198" y="19"/>
                  <a:pt x="198" y="19"/>
                  <a:pt x="198" y="19"/>
                </a:cubicBezTo>
                <a:cubicBezTo>
                  <a:pt x="198" y="54"/>
                  <a:pt x="198" y="54"/>
                  <a:pt x="198" y="54"/>
                </a:cubicBezTo>
                <a:cubicBezTo>
                  <a:pt x="198" y="64"/>
                  <a:pt x="193" y="69"/>
                  <a:pt x="183" y="69"/>
                </a:cubicBezTo>
                <a:cubicBezTo>
                  <a:pt x="180" y="69"/>
                  <a:pt x="177" y="69"/>
                  <a:pt x="173" y="68"/>
                </a:cubicBezTo>
                <a:cubicBezTo>
                  <a:pt x="173" y="63"/>
                  <a:pt x="173" y="63"/>
                  <a:pt x="173" y="63"/>
                </a:cubicBezTo>
                <a:cubicBezTo>
                  <a:pt x="176" y="64"/>
                  <a:pt x="179" y="65"/>
                  <a:pt x="182" y="65"/>
                </a:cubicBezTo>
                <a:cubicBezTo>
                  <a:pt x="190" y="65"/>
                  <a:pt x="193" y="61"/>
                  <a:pt x="193" y="53"/>
                </a:cubicBezTo>
                <a:lnTo>
                  <a:pt x="193" y="47"/>
                </a:lnTo>
                <a:close/>
                <a:moveTo>
                  <a:pt x="193" y="36"/>
                </a:moveTo>
                <a:cubicBezTo>
                  <a:pt x="193" y="31"/>
                  <a:pt x="191" y="22"/>
                  <a:pt x="185" y="22"/>
                </a:cubicBezTo>
                <a:cubicBezTo>
                  <a:pt x="178" y="22"/>
                  <a:pt x="177" y="32"/>
                  <a:pt x="177" y="37"/>
                </a:cubicBezTo>
                <a:cubicBezTo>
                  <a:pt x="177" y="41"/>
                  <a:pt x="178" y="50"/>
                  <a:pt x="184" y="50"/>
                </a:cubicBezTo>
                <a:cubicBezTo>
                  <a:pt x="191" y="50"/>
                  <a:pt x="193" y="41"/>
                  <a:pt x="193" y="36"/>
                </a:cubicBezTo>
                <a:close/>
                <a:moveTo>
                  <a:pt x="212" y="68"/>
                </a:moveTo>
                <a:cubicBezTo>
                  <a:pt x="217" y="54"/>
                  <a:pt x="217" y="54"/>
                  <a:pt x="217" y="54"/>
                </a:cubicBezTo>
                <a:cubicBezTo>
                  <a:pt x="204" y="19"/>
                  <a:pt x="204" y="19"/>
                  <a:pt x="204" y="19"/>
                </a:cubicBezTo>
                <a:cubicBezTo>
                  <a:pt x="209" y="19"/>
                  <a:pt x="209" y="19"/>
                  <a:pt x="209" y="19"/>
                </a:cubicBezTo>
                <a:cubicBezTo>
                  <a:pt x="219" y="46"/>
                  <a:pt x="219" y="46"/>
                  <a:pt x="219" y="46"/>
                </a:cubicBezTo>
                <a:cubicBezTo>
                  <a:pt x="219" y="46"/>
                  <a:pt x="219" y="46"/>
                  <a:pt x="219" y="46"/>
                </a:cubicBezTo>
                <a:cubicBezTo>
                  <a:pt x="229" y="19"/>
                  <a:pt x="229" y="19"/>
                  <a:pt x="229" y="19"/>
                </a:cubicBezTo>
                <a:cubicBezTo>
                  <a:pt x="234" y="19"/>
                  <a:pt x="234" y="19"/>
                  <a:pt x="234" y="19"/>
                </a:cubicBezTo>
                <a:cubicBezTo>
                  <a:pt x="217" y="68"/>
                  <a:pt x="217" y="68"/>
                  <a:pt x="217" y="68"/>
                </a:cubicBezTo>
                <a:lnTo>
                  <a:pt x="212" y="68"/>
                </a:lnTo>
                <a:close/>
                <a:moveTo>
                  <a:pt x="259" y="71"/>
                </a:moveTo>
                <a:cubicBezTo>
                  <a:pt x="259" y="0"/>
                  <a:pt x="259" y="0"/>
                  <a:pt x="259" y="0"/>
                </a:cubicBezTo>
                <a:cubicBezTo>
                  <a:pt x="263" y="0"/>
                  <a:pt x="263" y="0"/>
                  <a:pt x="263" y="0"/>
                </a:cubicBezTo>
                <a:cubicBezTo>
                  <a:pt x="263" y="71"/>
                  <a:pt x="263" y="71"/>
                  <a:pt x="263" y="71"/>
                </a:cubicBezTo>
                <a:lnTo>
                  <a:pt x="259" y="71"/>
                </a:lnTo>
                <a:close/>
                <a:moveTo>
                  <a:pt x="293" y="54"/>
                </a:moveTo>
                <a:cubicBezTo>
                  <a:pt x="293" y="3"/>
                  <a:pt x="293" y="3"/>
                  <a:pt x="293" y="3"/>
                </a:cubicBezTo>
                <a:cubicBezTo>
                  <a:pt x="305" y="3"/>
                  <a:pt x="305" y="3"/>
                  <a:pt x="305" y="3"/>
                </a:cubicBezTo>
                <a:cubicBezTo>
                  <a:pt x="321" y="3"/>
                  <a:pt x="326" y="13"/>
                  <a:pt x="326" y="28"/>
                </a:cubicBezTo>
                <a:cubicBezTo>
                  <a:pt x="326" y="38"/>
                  <a:pt x="324" y="49"/>
                  <a:pt x="314" y="52"/>
                </a:cubicBezTo>
                <a:cubicBezTo>
                  <a:pt x="310" y="54"/>
                  <a:pt x="307" y="54"/>
                  <a:pt x="303" y="54"/>
                </a:cubicBezTo>
                <a:lnTo>
                  <a:pt x="293" y="54"/>
                </a:lnTo>
                <a:close/>
                <a:moveTo>
                  <a:pt x="303" y="49"/>
                </a:moveTo>
                <a:cubicBezTo>
                  <a:pt x="306" y="49"/>
                  <a:pt x="309" y="49"/>
                  <a:pt x="312" y="48"/>
                </a:cubicBezTo>
                <a:cubicBezTo>
                  <a:pt x="319" y="44"/>
                  <a:pt x="320" y="35"/>
                  <a:pt x="320" y="28"/>
                </a:cubicBezTo>
                <a:cubicBezTo>
                  <a:pt x="320" y="21"/>
                  <a:pt x="319" y="12"/>
                  <a:pt x="311" y="9"/>
                </a:cubicBezTo>
                <a:cubicBezTo>
                  <a:pt x="308" y="8"/>
                  <a:pt x="305" y="8"/>
                  <a:pt x="302" y="8"/>
                </a:cubicBezTo>
                <a:cubicBezTo>
                  <a:pt x="299" y="8"/>
                  <a:pt x="299" y="8"/>
                  <a:pt x="299" y="8"/>
                </a:cubicBezTo>
                <a:cubicBezTo>
                  <a:pt x="299" y="49"/>
                  <a:pt x="299" y="49"/>
                  <a:pt x="299" y="49"/>
                </a:cubicBezTo>
                <a:lnTo>
                  <a:pt x="303" y="49"/>
                </a:lnTo>
                <a:close/>
                <a:moveTo>
                  <a:pt x="334" y="9"/>
                </a:moveTo>
                <a:cubicBezTo>
                  <a:pt x="334" y="3"/>
                  <a:pt x="334" y="3"/>
                  <a:pt x="334" y="3"/>
                </a:cubicBezTo>
                <a:cubicBezTo>
                  <a:pt x="341" y="3"/>
                  <a:pt x="341" y="3"/>
                  <a:pt x="341" y="3"/>
                </a:cubicBezTo>
                <a:cubicBezTo>
                  <a:pt x="341" y="9"/>
                  <a:pt x="341" y="9"/>
                  <a:pt x="341" y="9"/>
                </a:cubicBezTo>
                <a:lnTo>
                  <a:pt x="334" y="9"/>
                </a:lnTo>
                <a:close/>
                <a:moveTo>
                  <a:pt x="335" y="54"/>
                </a:moveTo>
                <a:cubicBezTo>
                  <a:pt x="335" y="19"/>
                  <a:pt x="335" y="19"/>
                  <a:pt x="335" y="19"/>
                </a:cubicBezTo>
                <a:cubicBezTo>
                  <a:pt x="340" y="19"/>
                  <a:pt x="340" y="19"/>
                  <a:pt x="340" y="19"/>
                </a:cubicBezTo>
                <a:cubicBezTo>
                  <a:pt x="340" y="54"/>
                  <a:pt x="340" y="54"/>
                  <a:pt x="340" y="54"/>
                </a:cubicBezTo>
                <a:lnTo>
                  <a:pt x="335" y="54"/>
                </a:lnTo>
                <a:close/>
                <a:moveTo>
                  <a:pt x="371" y="47"/>
                </a:moveTo>
                <a:cubicBezTo>
                  <a:pt x="371" y="47"/>
                  <a:pt x="371" y="47"/>
                  <a:pt x="371" y="47"/>
                </a:cubicBezTo>
                <a:cubicBezTo>
                  <a:pt x="369" y="51"/>
                  <a:pt x="366" y="54"/>
                  <a:pt x="361" y="54"/>
                </a:cubicBezTo>
                <a:cubicBezTo>
                  <a:pt x="352" y="54"/>
                  <a:pt x="349" y="44"/>
                  <a:pt x="349" y="36"/>
                </a:cubicBezTo>
                <a:cubicBezTo>
                  <a:pt x="349" y="29"/>
                  <a:pt x="352" y="18"/>
                  <a:pt x="361" y="18"/>
                </a:cubicBezTo>
                <a:cubicBezTo>
                  <a:pt x="366" y="18"/>
                  <a:pt x="369" y="20"/>
                  <a:pt x="371" y="24"/>
                </a:cubicBezTo>
                <a:cubicBezTo>
                  <a:pt x="371" y="24"/>
                  <a:pt x="371" y="24"/>
                  <a:pt x="371" y="24"/>
                </a:cubicBezTo>
                <a:cubicBezTo>
                  <a:pt x="371" y="19"/>
                  <a:pt x="371" y="19"/>
                  <a:pt x="371" y="19"/>
                </a:cubicBezTo>
                <a:cubicBezTo>
                  <a:pt x="376" y="19"/>
                  <a:pt x="376" y="19"/>
                  <a:pt x="376" y="19"/>
                </a:cubicBezTo>
                <a:cubicBezTo>
                  <a:pt x="376" y="54"/>
                  <a:pt x="376" y="54"/>
                  <a:pt x="376" y="54"/>
                </a:cubicBezTo>
                <a:cubicBezTo>
                  <a:pt x="376" y="64"/>
                  <a:pt x="371" y="69"/>
                  <a:pt x="361" y="69"/>
                </a:cubicBezTo>
                <a:cubicBezTo>
                  <a:pt x="357" y="69"/>
                  <a:pt x="355" y="69"/>
                  <a:pt x="351" y="68"/>
                </a:cubicBezTo>
                <a:cubicBezTo>
                  <a:pt x="351" y="63"/>
                  <a:pt x="351" y="63"/>
                  <a:pt x="351" y="63"/>
                </a:cubicBezTo>
                <a:cubicBezTo>
                  <a:pt x="354" y="64"/>
                  <a:pt x="357" y="65"/>
                  <a:pt x="360" y="65"/>
                </a:cubicBezTo>
                <a:cubicBezTo>
                  <a:pt x="368" y="65"/>
                  <a:pt x="371" y="61"/>
                  <a:pt x="371" y="53"/>
                </a:cubicBezTo>
                <a:lnTo>
                  <a:pt x="371" y="47"/>
                </a:lnTo>
                <a:close/>
                <a:moveTo>
                  <a:pt x="371" y="36"/>
                </a:moveTo>
                <a:cubicBezTo>
                  <a:pt x="371" y="31"/>
                  <a:pt x="369" y="22"/>
                  <a:pt x="362" y="22"/>
                </a:cubicBezTo>
                <a:cubicBezTo>
                  <a:pt x="356" y="22"/>
                  <a:pt x="355" y="32"/>
                  <a:pt x="355" y="37"/>
                </a:cubicBezTo>
                <a:cubicBezTo>
                  <a:pt x="355" y="41"/>
                  <a:pt x="356" y="50"/>
                  <a:pt x="362" y="50"/>
                </a:cubicBezTo>
                <a:cubicBezTo>
                  <a:pt x="369" y="50"/>
                  <a:pt x="371" y="41"/>
                  <a:pt x="371" y="36"/>
                </a:cubicBezTo>
                <a:close/>
                <a:moveTo>
                  <a:pt x="386" y="9"/>
                </a:moveTo>
                <a:cubicBezTo>
                  <a:pt x="386" y="3"/>
                  <a:pt x="386" y="3"/>
                  <a:pt x="386" y="3"/>
                </a:cubicBezTo>
                <a:cubicBezTo>
                  <a:pt x="393" y="3"/>
                  <a:pt x="393" y="3"/>
                  <a:pt x="393" y="3"/>
                </a:cubicBezTo>
                <a:cubicBezTo>
                  <a:pt x="393" y="9"/>
                  <a:pt x="393" y="9"/>
                  <a:pt x="393" y="9"/>
                </a:cubicBezTo>
                <a:lnTo>
                  <a:pt x="386" y="9"/>
                </a:lnTo>
                <a:close/>
                <a:moveTo>
                  <a:pt x="387" y="54"/>
                </a:moveTo>
                <a:cubicBezTo>
                  <a:pt x="387" y="19"/>
                  <a:pt x="387" y="19"/>
                  <a:pt x="387" y="19"/>
                </a:cubicBezTo>
                <a:cubicBezTo>
                  <a:pt x="392" y="19"/>
                  <a:pt x="392" y="19"/>
                  <a:pt x="392" y="19"/>
                </a:cubicBezTo>
                <a:cubicBezTo>
                  <a:pt x="392" y="54"/>
                  <a:pt x="392" y="54"/>
                  <a:pt x="392" y="54"/>
                </a:cubicBezTo>
                <a:lnTo>
                  <a:pt x="387" y="54"/>
                </a:lnTo>
                <a:close/>
                <a:moveTo>
                  <a:pt x="421" y="54"/>
                </a:moveTo>
                <a:cubicBezTo>
                  <a:pt x="419" y="55"/>
                  <a:pt x="418" y="55"/>
                  <a:pt x="416" y="55"/>
                </a:cubicBezTo>
                <a:cubicBezTo>
                  <a:pt x="409" y="55"/>
                  <a:pt x="406" y="52"/>
                  <a:pt x="406" y="46"/>
                </a:cubicBezTo>
                <a:cubicBezTo>
                  <a:pt x="406" y="23"/>
                  <a:pt x="406" y="23"/>
                  <a:pt x="406" y="23"/>
                </a:cubicBezTo>
                <a:cubicBezTo>
                  <a:pt x="401" y="23"/>
                  <a:pt x="401" y="23"/>
                  <a:pt x="401" y="23"/>
                </a:cubicBezTo>
                <a:cubicBezTo>
                  <a:pt x="401" y="19"/>
                  <a:pt x="401" y="19"/>
                  <a:pt x="401" y="19"/>
                </a:cubicBezTo>
                <a:cubicBezTo>
                  <a:pt x="406" y="19"/>
                  <a:pt x="406" y="19"/>
                  <a:pt x="406" y="19"/>
                </a:cubicBezTo>
                <a:cubicBezTo>
                  <a:pt x="406" y="10"/>
                  <a:pt x="406" y="10"/>
                  <a:pt x="406" y="10"/>
                </a:cubicBezTo>
                <a:cubicBezTo>
                  <a:pt x="411" y="7"/>
                  <a:pt x="411" y="7"/>
                  <a:pt x="411" y="7"/>
                </a:cubicBezTo>
                <a:cubicBezTo>
                  <a:pt x="411" y="19"/>
                  <a:pt x="411" y="19"/>
                  <a:pt x="411" y="19"/>
                </a:cubicBezTo>
                <a:cubicBezTo>
                  <a:pt x="421" y="19"/>
                  <a:pt x="421" y="19"/>
                  <a:pt x="421" y="19"/>
                </a:cubicBezTo>
                <a:cubicBezTo>
                  <a:pt x="421" y="23"/>
                  <a:pt x="421" y="23"/>
                  <a:pt x="421" y="23"/>
                </a:cubicBezTo>
                <a:cubicBezTo>
                  <a:pt x="411" y="23"/>
                  <a:pt x="411" y="23"/>
                  <a:pt x="411" y="23"/>
                </a:cubicBezTo>
                <a:cubicBezTo>
                  <a:pt x="411" y="45"/>
                  <a:pt x="411" y="45"/>
                  <a:pt x="411" y="45"/>
                </a:cubicBezTo>
                <a:cubicBezTo>
                  <a:pt x="411" y="48"/>
                  <a:pt x="413" y="50"/>
                  <a:pt x="417" y="50"/>
                </a:cubicBezTo>
                <a:cubicBezTo>
                  <a:pt x="419" y="50"/>
                  <a:pt x="419" y="50"/>
                  <a:pt x="421" y="50"/>
                </a:cubicBezTo>
                <a:lnTo>
                  <a:pt x="421" y="54"/>
                </a:lnTo>
                <a:close/>
                <a:moveTo>
                  <a:pt x="445" y="54"/>
                </a:moveTo>
                <a:cubicBezTo>
                  <a:pt x="445" y="49"/>
                  <a:pt x="445" y="49"/>
                  <a:pt x="445" y="49"/>
                </a:cubicBezTo>
                <a:cubicBezTo>
                  <a:pt x="445" y="49"/>
                  <a:pt x="445" y="49"/>
                  <a:pt x="445" y="49"/>
                </a:cubicBezTo>
                <a:cubicBezTo>
                  <a:pt x="443" y="53"/>
                  <a:pt x="438" y="55"/>
                  <a:pt x="434" y="55"/>
                </a:cubicBezTo>
                <a:cubicBezTo>
                  <a:pt x="428" y="55"/>
                  <a:pt x="425" y="51"/>
                  <a:pt x="425" y="45"/>
                </a:cubicBezTo>
                <a:cubicBezTo>
                  <a:pt x="425" y="37"/>
                  <a:pt x="434" y="34"/>
                  <a:pt x="445" y="34"/>
                </a:cubicBezTo>
                <a:cubicBezTo>
                  <a:pt x="445" y="33"/>
                  <a:pt x="445" y="33"/>
                  <a:pt x="445" y="33"/>
                </a:cubicBezTo>
                <a:cubicBezTo>
                  <a:pt x="445" y="28"/>
                  <a:pt x="446" y="22"/>
                  <a:pt x="439" y="22"/>
                </a:cubicBezTo>
                <a:cubicBezTo>
                  <a:pt x="434" y="22"/>
                  <a:pt x="432" y="23"/>
                  <a:pt x="431" y="28"/>
                </a:cubicBezTo>
                <a:cubicBezTo>
                  <a:pt x="426" y="28"/>
                  <a:pt x="426" y="28"/>
                  <a:pt x="426" y="28"/>
                </a:cubicBezTo>
                <a:cubicBezTo>
                  <a:pt x="426" y="21"/>
                  <a:pt x="432" y="18"/>
                  <a:pt x="438" y="18"/>
                </a:cubicBezTo>
                <a:cubicBezTo>
                  <a:pt x="446" y="18"/>
                  <a:pt x="450" y="21"/>
                  <a:pt x="450" y="29"/>
                </a:cubicBezTo>
                <a:cubicBezTo>
                  <a:pt x="450" y="54"/>
                  <a:pt x="450" y="54"/>
                  <a:pt x="450" y="54"/>
                </a:cubicBezTo>
                <a:lnTo>
                  <a:pt x="445" y="54"/>
                </a:lnTo>
                <a:close/>
                <a:moveTo>
                  <a:pt x="442" y="38"/>
                </a:moveTo>
                <a:cubicBezTo>
                  <a:pt x="438" y="38"/>
                  <a:pt x="431" y="40"/>
                  <a:pt x="431" y="45"/>
                </a:cubicBezTo>
                <a:cubicBezTo>
                  <a:pt x="431" y="48"/>
                  <a:pt x="433" y="50"/>
                  <a:pt x="436" y="50"/>
                </a:cubicBezTo>
                <a:cubicBezTo>
                  <a:pt x="439" y="50"/>
                  <a:pt x="443" y="48"/>
                  <a:pt x="444" y="45"/>
                </a:cubicBezTo>
                <a:cubicBezTo>
                  <a:pt x="445" y="42"/>
                  <a:pt x="445" y="41"/>
                  <a:pt x="445" y="38"/>
                </a:cubicBezTo>
                <a:lnTo>
                  <a:pt x="442" y="38"/>
                </a:lnTo>
                <a:close/>
                <a:moveTo>
                  <a:pt x="462" y="54"/>
                </a:moveTo>
                <a:cubicBezTo>
                  <a:pt x="462" y="3"/>
                  <a:pt x="462" y="3"/>
                  <a:pt x="462" y="3"/>
                </a:cubicBezTo>
                <a:cubicBezTo>
                  <a:pt x="467" y="3"/>
                  <a:pt x="467" y="3"/>
                  <a:pt x="467" y="3"/>
                </a:cubicBezTo>
                <a:cubicBezTo>
                  <a:pt x="467" y="54"/>
                  <a:pt x="467" y="54"/>
                  <a:pt x="467" y="54"/>
                </a:cubicBezTo>
                <a:lnTo>
                  <a:pt x="462" y="54"/>
                </a:lnTo>
                <a:close/>
                <a:moveTo>
                  <a:pt x="498" y="71"/>
                </a:moveTo>
                <a:cubicBezTo>
                  <a:pt x="498" y="0"/>
                  <a:pt x="498" y="0"/>
                  <a:pt x="498" y="0"/>
                </a:cubicBezTo>
                <a:cubicBezTo>
                  <a:pt x="502" y="0"/>
                  <a:pt x="502" y="0"/>
                  <a:pt x="502" y="0"/>
                </a:cubicBezTo>
                <a:cubicBezTo>
                  <a:pt x="502" y="71"/>
                  <a:pt x="502" y="71"/>
                  <a:pt x="502" y="71"/>
                </a:cubicBezTo>
                <a:lnTo>
                  <a:pt x="498" y="71"/>
                </a:lnTo>
                <a:close/>
                <a:moveTo>
                  <a:pt x="538" y="54"/>
                </a:moveTo>
                <a:cubicBezTo>
                  <a:pt x="538" y="8"/>
                  <a:pt x="538" y="8"/>
                  <a:pt x="538" y="8"/>
                </a:cubicBezTo>
                <a:cubicBezTo>
                  <a:pt x="526" y="8"/>
                  <a:pt x="526" y="8"/>
                  <a:pt x="526" y="8"/>
                </a:cubicBezTo>
                <a:cubicBezTo>
                  <a:pt x="526" y="3"/>
                  <a:pt x="526" y="3"/>
                  <a:pt x="526" y="3"/>
                </a:cubicBezTo>
                <a:cubicBezTo>
                  <a:pt x="556" y="3"/>
                  <a:pt x="556" y="3"/>
                  <a:pt x="556" y="3"/>
                </a:cubicBezTo>
                <a:cubicBezTo>
                  <a:pt x="556" y="8"/>
                  <a:pt x="556" y="8"/>
                  <a:pt x="556" y="8"/>
                </a:cubicBezTo>
                <a:cubicBezTo>
                  <a:pt x="544" y="8"/>
                  <a:pt x="544" y="8"/>
                  <a:pt x="544" y="8"/>
                </a:cubicBezTo>
                <a:cubicBezTo>
                  <a:pt x="544" y="54"/>
                  <a:pt x="544" y="54"/>
                  <a:pt x="544" y="54"/>
                </a:cubicBezTo>
                <a:lnTo>
                  <a:pt x="538" y="54"/>
                </a:lnTo>
                <a:close/>
                <a:moveTo>
                  <a:pt x="583" y="54"/>
                </a:moveTo>
                <a:cubicBezTo>
                  <a:pt x="580" y="54"/>
                  <a:pt x="577" y="55"/>
                  <a:pt x="575" y="55"/>
                </a:cubicBezTo>
                <a:cubicBezTo>
                  <a:pt x="562" y="55"/>
                  <a:pt x="557" y="47"/>
                  <a:pt x="557" y="35"/>
                </a:cubicBezTo>
                <a:cubicBezTo>
                  <a:pt x="557" y="26"/>
                  <a:pt x="561" y="18"/>
                  <a:pt x="571" y="18"/>
                </a:cubicBezTo>
                <a:cubicBezTo>
                  <a:pt x="579" y="18"/>
                  <a:pt x="583" y="23"/>
                  <a:pt x="583" y="31"/>
                </a:cubicBezTo>
                <a:cubicBezTo>
                  <a:pt x="583" y="33"/>
                  <a:pt x="583" y="33"/>
                  <a:pt x="583" y="33"/>
                </a:cubicBezTo>
                <a:cubicBezTo>
                  <a:pt x="563" y="33"/>
                  <a:pt x="563" y="33"/>
                  <a:pt x="563" y="33"/>
                </a:cubicBezTo>
                <a:cubicBezTo>
                  <a:pt x="563" y="35"/>
                  <a:pt x="563" y="35"/>
                  <a:pt x="563" y="35"/>
                </a:cubicBezTo>
                <a:cubicBezTo>
                  <a:pt x="563" y="43"/>
                  <a:pt x="567" y="50"/>
                  <a:pt x="576" y="50"/>
                </a:cubicBezTo>
                <a:cubicBezTo>
                  <a:pt x="578" y="50"/>
                  <a:pt x="580" y="50"/>
                  <a:pt x="583" y="49"/>
                </a:cubicBezTo>
                <a:lnTo>
                  <a:pt x="583" y="54"/>
                </a:lnTo>
                <a:close/>
                <a:moveTo>
                  <a:pt x="578" y="29"/>
                </a:moveTo>
                <a:cubicBezTo>
                  <a:pt x="578" y="25"/>
                  <a:pt x="575" y="22"/>
                  <a:pt x="571" y="22"/>
                </a:cubicBezTo>
                <a:cubicBezTo>
                  <a:pt x="567" y="22"/>
                  <a:pt x="564" y="25"/>
                  <a:pt x="563" y="29"/>
                </a:cubicBezTo>
                <a:lnTo>
                  <a:pt x="578" y="29"/>
                </a:lnTo>
                <a:close/>
                <a:moveTo>
                  <a:pt x="615" y="54"/>
                </a:moveTo>
                <a:cubicBezTo>
                  <a:pt x="612" y="54"/>
                  <a:pt x="610" y="55"/>
                  <a:pt x="607" y="55"/>
                </a:cubicBezTo>
                <a:cubicBezTo>
                  <a:pt x="595" y="55"/>
                  <a:pt x="589" y="47"/>
                  <a:pt x="589" y="35"/>
                </a:cubicBezTo>
                <a:cubicBezTo>
                  <a:pt x="589" y="26"/>
                  <a:pt x="593" y="18"/>
                  <a:pt x="604" y="18"/>
                </a:cubicBezTo>
                <a:cubicBezTo>
                  <a:pt x="611" y="18"/>
                  <a:pt x="616" y="22"/>
                  <a:pt x="616" y="29"/>
                </a:cubicBezTo>
                <a:cubicBezTo>
                  <a:pt x="610" y="29"/>
                  <a:pt x="610" y="29"/>
                  <a:pt x="610" y="29"/>
                </a:cubicBezTo>
                <a:cubicBezTo>
                  <a:pt x="610" y="25"/>
                  <a:pt x="608" y="22"/>
                  <a:pt x="603" y="22"/>
                </a:cubicBezTo>
                <a:cubicBezTo>
                  <a:pt x="597" y="22"/>
                  <a:pt x="595" y="29"/>
                  <a:pt x="595" y="34"/>
                </a:cubicBezTo>
                <a:cubicBezTo>
                  <a:pt x="595" y="43"/>
                  <a:pt x="599" y="50"/>
                  <a:pt x="609" y="50"/>
                </a:cubicBezTo>
                <a:cubicBezTo>
                  <a:pt x="611" y="50"/>
                  <a:pt x="613" y="50"/>
                  <a:pt x="615" y="50"/>
                </a:cubicBezTo>
                <a:lnTo>
                  <a:pt x="615" y="54"/>
                </a:lnTo>
                <a:close/>
                <a:moveTo>
                  <a:pt x="643" y="54"/>
                </a:moveTo>
                <a:cubicBezTo>
                  <a:pt x="643" y="34"/>
                  <a:pt x="643" y="34"/>
                  <a:pt x="643" y="34"/>
                </a:cubicBezTo>
                <a:cubicBezTo>
                  <a:pt x="643" y="30"/>
                  <a:pt x="643" y="23"/>
                  <a:pt x="638" y="23"/>
                </a:cubicBezTo>
                <a:cubicBezTo>
                  <a:pt x="631" y="23"/>
                  <a:pt x="628" y="34"/>
                  <a:pt x="628" y="39"/>
                </a:cubicBezTo>
                <a:cubicBezTo>
                  <a:pt x="628" y="54"/>
                  <a:pt x="628" y="54"/>
                  <a:pt x="628" y="54"/>
                </a:cubicBezTo>
                <a:cubicBezTo>
                  <a:pt x="623" y="54"/>
                  <a:pt x="623" y="54"/>
                  <a:pt x="623" y="54"/>
                </a:cubicBezTo>
                <a:cubicBezTo>
                  <a:pt x="623" y="3"/>
                  <a:pt x="623" y="3"/>
                  <a:pt x="623" y="3"/>
                </a:cubicBezTo>
                <a:cubicBezTo>
                  <a:pt x="628" y="3"/>
                  <a:pt x="628" y="3"/>
                  <a:pt x="628" y="3"/>
                </a:cubicBezTo>
                <a:cubicBezTo>
                  <a:pt x="628" y="27"/>
                  <a:pt x="628" y="27"/>
                  <a:pt x="628" y="27"/>
                </a:cubicBezTo>
                <a:cubicBezTo>
                  <a:pt x="628" y="27"/>
                  <a:pt x="628" y="27"/>
                  <a:pt x="628" y="27"/>
                </a:cubicBezTo>
                <a:cubicBezTo>
                  <a:pt x="630" y="21"/>
                  <a:pt x="633" y="18"/>
                  <a:pt x="639" y="18"/>
                </a:cubicBezTo>
                <a:cubicBezTo>
                  <a:pt x="645" y="18"/>
                  <a:pt x="648" y="23"/>
                  <a:pt x="648" y="29"/>
                </a:cubicBezTo>
                <a:cubicBezTo>
                  <a:pt x="648" y="54"/>
                  <a:pt x="648" y="54"/>
                  <a:pt x="648" y="54"/>
                </a:cubicBezTo>
                <a:lnTo>
                  <a:pt x="643" y="54"/>
                </a:lnTo>
                <a:close/>
                <a:moveTo>
                  <a:pt x="679" y="54"/>
                </a:moveTo>
                <a:cubicBezTo>
                  <a:pt x="679" y="34"/>
                  <a:pt x="679" y="34"/>
                  <a:pt x="679" y="34"/>
                </a:cubicBezTo>
                <a:cubicBezTo>
                  <a:pt x="679" y="30"/>
                  <a:pt x="680" y="23"/>
                  <a:pt x="674" y="23"/>
                </a:cubicBezTo>
                <a:cubicBezTo>
                  <a:pt x="667" y="23"/>
                  <a:pt x="664" y="34"/>
                  <a:pt x="664" y="39"/>
                </a:cubicBezTo>
                <a:cubicBezTo>
                  <a:pt x="664" y="54"/>
                  <a:pt x="664" y="54"/>
                  <a:pt x="664" y="54"/>
                </a:cubicBezTo>
                <a:cubicBezTo>
                  <a:pt x="659" y="54"/>
                  <a:pt x="659" y="54"/>
                  <a:pt x="659" y="54"/>
                </a:cubicBezTo>
                <a:cubicBezTo>
                  <a:pt x="659" y="19"/>
                  <a:pt x="659" y="19"/>
                  <a:pt x="659" y="19"/>
                </a:cubicBezTo>
                <a:cubicBezTo>
                  <a:pt x="664" y="19"/>
                  <a:pt x="664" y="19"/>
                  <a:pt x="664" y="19"/>
                </a:cubicBezTo>
                <a:cubicBezTo>
                  <a:pt x="664" y="27"/>
                  <a:pt x="664" y="27"/>
                  <a:pt x="664" y="27"/>
                </a:cubicBezTo>
                <a:cubicBezTo>
                  <a:pt x="664" y="27"/>
                  <a:pt x="664" y="27"/>
                  <a:pt x="664" y="27"/>
                </a:cubicBezTo>
                <a:cubicBezTo>
                  <a:pt x="666" y="21"/>
                  <a:pt x="669" y="18"/>
                  <a:pt x="675" y="18"/>
                </a:cubicBezTo>
                <a:cubicBezTo>
                  <a:pt x="681" y="18"/>
                  <a:pt x="684" y="23"/>
                  <a:pt x="684" y="29"/>
                </a:cubicBezTo>
                <a:cubicBezTo>
                  <a:pt x="684" y="54"/>
                  <a:pt x="684" y="54"/>
                  <a:pt x="684" y="54"/>
                </a:cubicBezTo>
                <a:lnTo>
                  <a:pt x="679" y="54"/>
                </a:lnTo>
                <a:close/>
                <a:moveTo>
                  <a:pt x="693" y="36"/>
                </a:moveTo>
                <a:cubicBezTo>
                  <a:pt x="693" y="27"/>
                  <a:pt x="696" y="18"/>
                  <a:pt x="707" y="18"/>
                </a:cubicBezTo>
                <a:cubicBezTo>
                  <a:pt x="718" y="18"/>
                  <a:pt x="721" y="27"/>
                  <a:pt x="721" y="36"/>
                </a:cubicBezTo>
                <a:cubicBezTo>
                  <a:pt x="721" y="46"/>
                  <a:pt x="718" y="55"/>
                  <a:pt x="707" y="55"/>
                </a:cubicBezTo>
                <a:cubicBezTo>
                  <a:pt x="696" y="55"/>
                  <a:pt x="693" y="46"/>
                  <a:pt x="693" y="36"/>
                </a:cubicBezTo>
                <a:close/>
                <a:moveTo>
                  <a:pt x="716" y="36"/>
                </a:moveTo>
                <a:cubicBezTo>
                  <a:pt x="716" y="31"/>
                  <a:pt x="714" y="22"/>
                  <a:pt x="707" y="22"/>
                </a:cubicBezTo>
                <a:cubicBezTo>
                  <a:pt x="700" y="22"/>
                  <a:pt x="698" y="31"/>
                  <a:pt x="698" y="36"/>
                </a:cubicBezTo>
                <a:cubicBezTo>
                  <a:pt x="698" y="42"/>
                  <a:pt x="700" y="50"/>
                  <a:pt x="707" y="50"/>
                </a:cubicBezTo>
                <a:cubicBezTo>
                  <a:pt x="714" y="50"/>
                  <a:pt x="716" y="42"/>
                  <a:pt x="716" y="36"/>
                </a:cubicBezTo>
                <a:close/>
                <a:moveTo>
                  <a:pt x="730" y="54"/>
                </a:moveTo>
                <a:cubicBezTo>
                  <a:pt x="730" y="3"/>
                  <a:pt x="730" y="3"/>
                  <a:pt x="730" y="3"/>
                </a:cubicBezTo>
                <a:cubicBezTo>
                  <a:pt x="735" y="3"/>
                  <a:pt x="735" y="3"/>
                  <a:pt x="735" y="3"/>
                </a:cubicBezTo>
                <a:cubicBezTo>
                  <a:pt x="735" y="54"/>
                  <a:pt x="735" y="54"/>
                  <a:pt x="735" y="54"/>
                </a:cubicBezTo>
                <a:lnTo>
                  <a:pt x="730" y="54"/>
                </a:lnTo>
                <a:close/>
                <a:moveTo>
                  <a:pt x="745" y="36"/>
                </a:moveTo>
                <a:cubicBezTo>
                  <a:pt x="745" y="27"/>
                  <a:pt x="748" y="18"/>
                  <a:pt x="759" y="18"/>
                </a:cubicBezTo>
                <a:cubicBezTo>
                  <a:pt x="770" y="18"/>
                  <a:pt x="773" y="27"/>
                  <a:pt x="773" y="36"/>
                </a:cubicBezTo>
                <a:cubicBezTo>
                  <a:pt x="773" y="46"/>
                  <a:pt x="770" y="55"/>
                  <a:pt x="759" y="55"/>
                </a:cubicBezTo>
                <a:cubicBezTo>
                  <a:pt x="748" y="55"/>
                  <a:pt x="745" y="46"/>
                  <a:pt x="745" y="36"/>
                </a:cubicBezTo>
                <a:close/>
                <a:moveTo>
                  <a:pt x="768" y="36"/>
                </a:moveTo>
                <a:cubicBezTo>
                  <a:pt x="768" y="31"/>
                  <a:pt x="766" y="22"/>
                  <a:pt x="759" y="22"/>
                </a:cubicBezTo>
                <a:cubicBezTo>
                  <a:pt x="752" y="22"/>
                  <a:pt x="750" y="31"/>
                  <a:pt x="750" y="36"/>
                </a:cubicBezTo>
                <a:cubicBezTo>
                  <a:pt x="750" y="42"/>
                  <a:pt x="752" y="50"/>
                  <a:pt x="759" y="50"/>
                </a:cubicBezTo>
                <a:cubicBezTo>
                  <a:pt x="766" y="50"/>
                  <a:pt x="768" y="42"/>
                  <a:pt x="768" y="36"/>
                </a:cubicBezTo>
                <a:close/>
                <a:moveTo>
                  <a:pt x="801" y="47"/>
                </a:moveTo>
                <a:cubicBezTo>
                  <a:pt x="801" y="47"/>
                  <a:pt x="801" y="47"/>
                  <a:pt x="801" y="47"/>
                </a:cubicBezTo>
                <a:cubicBezTo>
                  <a:pt x="799" y="51"/>
                  <a:pt x="796" y="54"/>
                  <a:pt x="791" y="54"/>
                </a:cubicBezTo>
                <a:cubicBezTo>
                  <a:pt x="782" y="54"/>
                  <a:pt x="779" y="44"/>
                  <a:pt x="779" y="36"/>
                </a:cubicBezTo>
                <a:cubicBezTo>
                  <a:pt x="779" y="29"/>
                  <a:pt x="782" y="18"/>
                  <a:pt x="791" y="18"/>
                </a:cubicBezTo>
                <a:cubicBezTo>
                  <a:pt x="796" y="18"/>
                  <a:pt x="799" y="20"/>
                  <a:pt x="801" y="24"/>
                </a:cubicBezTo>
                <a:cubicBezTo>
                  <a:pt x="801" y="24"/>
                  <a:pt x="801" y="24"/>
                  <a:pt x="801" y="24"/>
                </a:cubicBezTo>
                <a:cubicBezTo>
                  <a:pt x="801" y="19"/>
                  <a:pt x="801" y="19"/>
                  <a:pt x="801" y="19"/>
                </a:cubicBezTo>
                <a:cubicBezTo>
                  <a:pt x="806" y="19"/>
                  <a:pt x="806" y="19"/>
                  <a:pt x="806" y="19"/>
                </a:cubicBezTo>
                <a:cubicBezTo>
                  <a:pt x="806" y="54"/>
                  <a:pt x="806" y="54"/>
                  <a:pt x="806" y="54"/>
                </a:cubicBezTo>
                <a:cubicBezTo>
                  <a:pt x="806" y="64"/>
                  <a:pt x="801" y="69"/>
                  <a:pt x="791" y="69"/>
                </a:cubicBezTo>
                <a:cubicBezTo>
                  <a:pt x="787" y="69"/>
                  <a:pt x="785" y="69"/>
                  <a:pt x="781" y="68"/>
                </a:cubicBezTo>
                <a:cubicBezTo>
                  <a:pt x="781" y="63"/>
                  <a:pt x="781" y="63"/>
                  <a:pt x="781" y="63"/>
                </a:cubicBezTo>
                <a:cubicBezTo>
                  <a:pt x="784" y="64"/>
                  <a:pt x="787" y="65"/>
                  <a:pt x="790" y="65"/>
                </a:cubicBezTo>
                <a:cubicBezTo>
                  <a:pt x="798" y="65"/>
                  <a:pt x="801" y="61"/>
                  <a:pt x="801" y="53"/>
                </a:cubicBezTo>
                <a:lnTo>
                  <a:pt x="801" y="47"/>
                </a:lnTo>
                <a:close/>
                <a:moveTo>
                  <a:pt x="801" y="36"/>
                </a:moveTo>
                <a:cubicBezTo>
                  <a:pt x="801" y="31"/>
                  <a:pt x="799" y="22"/>
                  <a:pt x="792" y="22"/>
                </a:cubicBezTo>
                <a:cubicBezTo>
                  <a:pt x="786" y="22"/>
                  <a:pt x="785" y="32"/>
                  <a:pt x="785" y="37"/>
                </a:cubicBezTo>
                <a:cubicBezTo>
                  <a:pt x="785" y="41"/>
                  <a:pt x="786" y="50"/>
                  <a:pt x="792" y="50"/>
                </a:cubicBezTo>
                <a:cubicBezTo>
                  <a:pt x="799" y="50"/>
                  <a:pt x="801" y="41"/>
                  <a:pt x="801" y="36"/>
                </a:cubicBezTo>
                <a:close/>
                <a:moveTo>
                  <a:pt x="820" y="68"/>
                </a:moveTo>
                <a:cubicBezTo>
                  <a:pt x="825" y="54"/>
                  <a:pt x="825" y="54"/>
                  <a:pt x="825" y="54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7" y="19"/>
                  <a:pt x="817" y="19"/>
                  <a:pt x="817" y="19"/>
                </a:cubicBezTo>
                <a:cubicBezTo>
                  <a:pt x="827" y="46"/>
                  <a:pt x="827" y="46"/>
                  <a:pt x="827" y="46"/>
                </a:cubicBezTo>
                <a:cubicBezTo>
                  <a:pt x="827" y="46"/>
                  <a:pt x="827" y="46"/>
                  <a:pt x="827" y="46"/>
                </a:cubicBezTo>
                <a:cubicBezTo>
                  <a:pt x="837" y="19"/>
                  <a:pt x="837" y="19"/>
                  <a:pt x="837" y="19"/>
                </a:cubicBezTo>
                <a:cubicBezTo>
                  <a:pt x="842" y="19"/>
                  <a:pt x="842" y="19"/>
                  <a:pt x="842" y="19"/>
                </a:cubicBezTo>
                <a:cubicBezTo>
                  <a:pt x="825" y="68"/>
                  <a:pt x="825" y="68"/>
                  <a:pt x="825" y="68"/>
                </a:cubicBezTo>
                <a:lnTo>
                  <a:pt x="820" y="68"/>
                </a:lnTo>
                <a:close/>
                <a:moveTo>
                  <a:pt x="867" y="71"/>
                </a:moveTo>
                <a:cubicBezTo>
                  <a:pt x="867" y="0"/>
                  <a:pt x="867" y="0"/>
                  <a:pt x="867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71"/>
                  <a:pt x="871" y="71"/>
                  <a:pt x="871" y="71"/>
                </a:cubicBezTo>
                <a:lnTo>
                  <a:pt x="867" y="71"/>
                </a:lnTo>
                <a:close/>
                <a:moveTo>
                  <a:pt x="899" y="28"/>
                </a:moveTo>
                <a:cubicBezTo>
                  <a:pt x="899" y="16"/>
                  <a:pt x="902" y="2"/>
                  <a:pt x="917" y="2"/>
                </a:cubicBezTo>
                <a:cubicBezTo>
                  <a:pt x="932" y="2"/>
                  <a:pt x="935" y="16"/>
                  <a:pt x="935" y="28"/>
                </a:cubicBezTo>
                <a:cubicBezTo>
                  <a:pt x="935" y="40"/>
                  <a:pt x="932" y="55"/>
                  <a:pt x="917" y="55"/>
                </a:cubicBezTo>
                <a:cubicBezTo>
                  <a:pt x="902" y="55"/>
                  <a:pt x="899" y="40"/>
                  <a:pt x="899" y="28"/>
                </a:cubicBezTo>
                <a:close/>
                <a:moveTo>
                  <a:pt x="929" y="28"/>
                </a:moveTo>
                <a:cubicBezTo>
                  <a:pt x="929" y="20"/>
                  <a:pt x="928" y="7"/>
                  <a:pt x="917" y="7"/>
                </a:cubicBezTo>
                <a:cubicBezTo>
                  <a:pt x="906" y="7"/>
                  <a:pt x="905" y="20"/>
                  <a:pt x="905" y="28"/>
                </a:cubicBezTo>
                <a:cubicBezTo>
                  <a:pt x="905" y="36"/>
                  <a:pt x="906" y="50"/>
                  <a:pt x="917" y="50"/>
                </a:cubicBezTo>
                <a:cubicBezTo>
                  <a:pt x="928" y="50"/>
                  <a:pt x="929" y="36"/>
                  <a:pt x="929" y="28"/>
                </a:cubicBezTo>
                <a:close/>
                <a:moveTo>
                  <a:pt x="944" y="70"/>
                </a:moveTo>
                <a:cubicBezTo>
                  <a:pt x="944" y="19"/>
                  <a:pt x="944" y="19"/>
                  <a:pt x="944" y="19"/>
                </a:cubicBezTo>
                <a:cubicBezTo>
                  <a:pt x="949" y="19"/>
                  <a:pt x="949" y="19"/>
                  <a:pt x="949" y="19"/>
                </a:cubicBezTo>
                <a:cubicBezTo>
                  <a:pt x="949" y="25"/>
                  <a:pt x="949" y="25"/>
                  <a:pt x="949" y="25"/>
                </a:cubicBezTo>
                <a:cubicBezTo>
                  <a:pt x="949" y="25"/>
                  <a:pt x="949" y="25"/>
                  <a:pt x="949" y="25"/>
                </a:cubicBezTo>
                <a:cubicBezTo>
                  <a:pt x="950" y="20"/>
                  <a:pt x="954" y="18"/>
                  <a:pt x="958" y="18"/>
                </a:cubicBezTo>
                <a:cubicBezTo>
                  <a:pt x="969" y="18"/>
                  <a:pt x="970" y="28"/>
                  <a:pt x="970" y="36"/>
                </a:cubicBezTo>
                <a:cubicBezTo>
                  <a:pt x="970" y="44"/>
                  <a:pt x="968" y="55"/>
                  <a:pt x="958" y="55"/>
                </a:cubicBezTo>
                <a:cubicBezTo>
                  <a:pt x="954" y="55"/>
                  <a:pt x="951" y="52"/>
                  <a:pt x="949" y="48"/>
                </a:cubicBezTo>
                <a:cubicBezTo>
                  <a:pt x="949" y="48"/>
                  <a:pt x="949" y="48"/>
                  <a:pt x="949" y="48"/>
                </a:cubicBezTo>
                <a:cubicBezTo>
                  <a:pt x="949" y="70"/>
                  <a:pt x="949" y="70"/>
                  <a:pt x="949" y="70"/>
                </a:cubicBezTo>
                <a:lnTo>
                  <a:pt x="944" y="70"/>
                </a:lnTo>
                <a:close/>
                <a:moveTo>
                  <a:pt x="965" y="35"/>
                </a:moveTo>
                <a:cubicBezTo>
                  <a:pt x="965" y="30"/>
                  <a:pt x="964" y="22"/>
                  <a:pt x="957" y="22"/>
                </a:cubicBezTo>
                <a:cubicBezTo>
                  <a:pt x="951" y="22"/>
                  <a:pt x="949" y="31"/>
                  <a:pt x="949" y="36"/>
                </a:cubicBezTo>
                <a:cubicBezTo>
                  <a:pt x="949" y="41"/>
                  <a:pt x="951" y="50"/>
                  <a:pt x="957" y="50"/>
                </a:cubicBezTo>
                <a:cubicBezTo>
                  <a:pt x="964" y="50"/>
                  <a:pt x="965" y="40"/>
                  <a:pt x="965" y="35"/>
                </a:cubicBezTo>
                <a:close/>
                <a:moveTo>
                  <a:pt x="1002" y="54"/>
                </a:moveTo>
                <a:cubicBezTo>
                  <a:pt x="999" y="54"/>
                  <a:pt x="996" y="55"/>
                  <a:pt x="994" y="55"/>
                </a:cubicBezTo>
                <a:cubicBezTo>
                  <a:pt x="981" y="55"/>
                  <a:pt x="977" y="47"/>
                  <a:pt x="977" y="35"/>
                </a:cubicBezTo>
                <a:cubicBezTo>
                  <a:pt x="977" y="26"/>
                  <a:pt x="980" y="18"/>
                  <a:pt x="990" y="18"/>
                </a:cubicBezTo>
                <a:cubicBezTo>
                  <a:pt x="998" y="18"/>
                  <a:pt x="1003" y="23"/>
                  <a:pt x="1003" y="31"/>
                </a:cubicBezTo>
                <a:cubicBezTo>
                  <a:pt x="1003" y="33"/>
                  <a:pt x="1003" y="33"/>
                  <a:pt x="1003" y="33"/>
                </a:cubicBezTo>
                <a:cubicBezTo>
                  <a:pt x="982" y="33"/>
                  <a:pt x="982" y="33"/>
                  <a:pt x="982" y="33"/>
                </a:cubicBezTo>
                <a:cubicBezTo>
                  <a:pt x="982" y="35"/>
                  <a:pt x="982" y="35"/>
                  <a:pt x="982" y="35"/>
                </a:cubicBezTo>
                <a:cubicBezTo>
                  <a:pt x="982" y="43"/>
                  <a:pt x="986" y="50"/>
                  <a:pt x="995" y="50"/>
                </a:cubicBezTo>
                <a:cubicBezTo>
                  <a:pt x="997" y="50"/>
                  <a:pt x="999" y="50"/>
                  <a:pt x="1002" y="49"/>
                </a:cubicBezTo>
                <a:lnTo>
                  <a:pt x="1002" y="54"/>
                </a:lnTo>
                <a:close/>
                <a:moveTo>
                  <a:pt x="997" y="29"/>
                </a:moveTo>
                <a:cubicBezTo>
                  <a:pt x="997" y="25"/>
                  <a:pt x="994" y="22"/>
                  <a:pt x="990" y="22"/>
                </a:cubicBezTo>
                <a:cubicBezTo>
                  <a:pt x="986" y="22"/>
                  <a:pt x="983" y="25"/>
                  <a:pt x="983" y="29"/>
                </a:cubicBezTo>
                <a:lnTo>
                  <a:pt x="997" y="29"/>
                </a:lnTo>
                <a:close/>
                <a:moveTo>
                  <a:pt x="1011" y="54"/>
                </a:moveTo>
                <a:cubicBezTo>
                  <a:pt x="1011" y="19"/>
                  <a:pt x="1011" y="19"/>
                  <a:pt x="1011" y="19"/>
                </a:cubicBezTo>
                <a:cubicBezTo>
                  <a:pt x="1016" y="19"/>
                  <a:pt x="1016" y="19"/>
                  <a:pt x="1016" y="19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8" y="20"/>
                  <a:pt x="1022" y="18"/>
                  <a:pt x="1028" y="18"/>
                </a:cubicBezTo>
                <a:cubicBezTo>
                  <a:pt x="1028" y="23"/>
                  <a:pt x="1028" y="23"/>
                  <a:pt x="1028" y="23"/>
                </a:cubicBezTo>
                <a:cubicBezTo>
                  <a:pt x="1019" y="23"/>
                  <a:pt x="1016" y="32"/>
                  <a:pt x="1016" y="39"/>
                </a:cubicBezTo>
                <a:cubicBezTo>
                  <a:pt x="1016" y="54"/>
                  <a:pt x="1016" y="54"/>
                  <a:pt x="1016" y="54"/>
                </a:cubicBezTo>
                <a:lnTo>
                  <a:pt x="1011" y="54"/>
                </a:lnTo>
                <a:close/>
                <a:moveTo>
                  <a:pt x="1051" y="54"/>
                </a:moveTo>
                <a:cubicBezTo>
                  <a:pt x="1051" y="49"/>
                  <a:pt x="1051" y="49"/>
                  <a:pt x="1051" y="49"/>
                </a:cubicBezTo>
                <a:cubicBezTo>
                  <a:pt x="1051" y="49"/>
                  <a:pt x="1051" y="49"/>
                  <a:pt x="1051" y="49"/>
                </a:cubicBezTo>
                <a:cubicBezTo>
                  <a:pt x="1049" y="53"/>
                  <a:pt x="1044" y="55"/>
                  <a:pt x="1040" y="55"/>
                </a:cubicBezTo>
                <a:cubicBezTo>
                  <a:pt x="1034" y="55"/>
                  <a:pt x="1031" y="51"/>
                  <a:pt x="1031" y="45"/>
                </a:cubicBezTo>
                <a:cubicBezTo>
                  <a:pt x="1031" y="37"/>
                  <a:pt x="1040" y="34"/>
                  <a:pt x="1051" y="34"/>
                </a:cubicBezTo>
                <a:cubicBezTo>
                  <a:pt x="1051" y="33"/>
                  <a:pt x="1051" y="33"/>
                  <a:pt x="1051" y="33"/>
                </a:cubicBezTo>
                <a:cubicBezTo>
                  <a:pt x="1051" y="28"/>
                  <a:pt x="1051" y="22"/>
                  <a:pt x="1044" y="22"/>
                </a:cubicBezTo>
                <a:cubicBezTo>
                  <a:pt x="1040" y="22"/>
                  <a:pt x="1038" y="23"/>
                  <a:pt x="1037" y="28"/>
                </a:cubicBezTo>
                <a:cubicBezTo>
                  <a:pt x="1032" y="28"/>
                  <a:pt x="1032" y="28"/>
                  <a:pt x="1032" y="28"/>
                </a:cubicBezTo>
                <a:cubicBezTo>
                  <a:pt x="1032" y="21"/>
                  <a:pt x="1038" y="18"/>
                  <a:pt x="1044" y="18"/>
                </a:cubicBezTo>
                <a:cubicBezTo>
                  <a:pt x="1052" y="18"/>
                  <a:pt x="1056" y="21"/>
                  <a:pt x="1056" y="29"/>
                </a:cubicBezTo>
                <a:cubicBezTo>
                  <a:pt x="1056" y="54"/>
                  <a:pt x="1056" y="54"/>
                  <a:pt x="1056" y="54"/>
                </a:cubicBezTo>
                <a:lnTo>
                  <a:pt x="1051" y="54"/>
                </a:lnTo>
                <a:close/>
                <a:moveTo>
                  <a:pt x="1048" y="38"/>
                </a:moveTo>
                <a:cubicBezTo>
                  <a:pt x="1044" y="38"/>
                  <a:pt x="1037" y="40"/>
                  <a:pt x="1037" y="45"/>
                </a:cubicBezTo>
                <a:cubicBezTo>
                  <a:pt x="1037" y="48"/>
                  <a:pt x="1039" y="50"/>
                  <a:pt x="1041" y="50"/>
                </a:cubicBezTo>
                <a:cubicBezTo>
                  <a:pt x="1045" y="50"/>
                  <a:pt x="1048" y="48"/>
                  <a:pt x="1050" y="45"/>
                </a:cubicBezTo>
                <a:cubicBezTo>
                  <a:pt x="1051" y="42"/>
                  <a:pt x="1051" y="41"/>
                  <a:pt x="1051" y="38"/>
                </a:cubicBezTo>
                <a:lnTo>
                  <a:pt x="1048" y="38"/>
                </a:lnTo>
                <a:close/>
                <a:moveTo>
                  <a:pt x="1084" y="54"/>
                </a:moveTo>
                <a:cubicBezTo>
                  <a:pt x="1082" y="55"/>
                  <a:pt x="1081" y="55"/>
                  <a:pt x="1079" y="55"/>
                </a:cubicBezTo>
                <a:cubicBezTo>
                  <a:pt x="1073" y="55"/>
                  <a:pt x="1070" y="52"/>
                  <a:pt x="1070" y="46"/>
                </a:cubicBezTo>
                <a:cubicBezTo>
                  <a:pt x="1070" y="23"/>
                  <a:pt x="1070" y="23"/>
                  <a:pt x="1070" y="23"/>
                </a:cubicBezTo>
                <a:cubicBezTo>
                  <a:pt x="1064" y="23"/>
                  <a:pt x="1064" y="23"/>
                  <a:pt x="1064" y="23"/>
                </a:cubicBezTo>
                <a:cubicBezTo>
                  <a:pt x="1064" y="19"/>
                  <a:pt x="1064" y="19"/>
                  <a:pt x="1064" y="19"/>
                </a:cubicBezTo>
                <a:cubicBezTo>
                  <a:pt x="1070" y="19"/>
                  <a:pt x="1070" y="19"/>
                  <a:pt x="1070" y="19"/>
                </a:cubicBezTo>
                <a:cubicBezTo>
                  <a:pt x="1070" y="10"/>
                  <a:pt x="1070" y="10"/>
                  <a:pt x="1070" y="10"/>
                </a:cubicBezTo>
                <a:cubicBezTo>
                  <a:pt x="1075" y="7"/>
                  <a:pt x="1075" y="7"/>
                  <a:pt x="1075" y="7"/>
                </a:cubicBezTo>
                <a:cubicBezTo>
                  <a:pt x="1075" y="19"/>
                  <a:pt x="1075" y="19"/>
                  <a:pt x="1075" y="19"/>
                </a:cubicBezTo>
                <a:cubicBezTo>
                  <a:pt x="1084" y="19"/>
                  <a:pt x="1084" y="19"/>
                  <a:pt x="1084" y="19"/>
                </a:cubicBezTo>
                <a:cubicBezTo>
                  <a:pt x="1084" y="23"/>
                  <a:pt x="1084" y="23"/>
                  <a:pt x="1084" y="23"/>
                </a:cubicBezTo>
                <a:cubicBezTo>
                  <a:pt x="1075" y="23"/>
                  <a:pt x="1075" y="23"/>
                  <a:pt x="1075" y="23"/>
                </a:cubicBezTo>
                <a:cubicBezTo>
                  <a:pt x="1075" y="45"/>
                  <a:pt x="1075" y="45"/>
                  <a:pt x="1075" y="45"/>
                </a:cubicBezTo>
                <a:cubicBezTo>
                  <a:pt x="1075" y="48"/>
                  <a:pt x="1076" y="50"/>
                  <a:pt x="1080" y="50"/>
                </a:cubicBezTo>
                <a:cubicBezTo>
                  <a:pt x="1082" y="50"/>
                  <a:pt x="1082" y="50"/>
                  <a:pt x="1084" y="50"/>
                </a:cubicBezTo>
                <a:lnTo>
                  <a:pt x="1084" y="54"/>
                </a:lnTo>
                <a:close/>
                <a:moveTo>
                  <a:pt x="1091" y="9"/>
                </a:moveTo>
                <a:cubicBezTo>
                  <a:pt x="1091" y="3"/>
                  <a:pt x="1091" y="3"/>
                  <a:pt x="1091" y="3"/>
                </a:cubicBezTo>
                <a:cubicBezTo>
                  <a:pt x="1097" y="3"/>
                  <a:pt x="1097" y="3"/>
                  <a:pt x="1097" y="3"/>
                </a:cubicBezTo>
                <a:cubicBezTo>
                  <a:pt x="1097" y="9"/>
                  <a:pt x="1097" y="9"/>
                  <a:pt x="1097" y="9"/>
                </a:cubicBezTo>
                <a:lnTo>
                  <a:pt x="1091" y="9"/>
                </a:lnTo>
                <a:close/>
                <a:moveTo>
                  <a:pt x="1091" y="54"/>
                </a:moveTo>
                <a:cubicBezTo>
                  <a:pt x="1091" y="19"/>
                  <a:pt x="1091" y="19"/>
                  <a:pt x="1091" y="19"/>
                </a:cubicBezTo>
                <a:cubicBezTo>
                  <a:pt x="1096" y="19"/>
                  <a:pt x="1096" y="19"/>
                  <a:pt x="1096" y="19"/>
                </a:cubicBezTo>
                <a:cubicBezTo>
                  <a:pt x="1096" y="54"/>
                  <a:pt x="1096" y="54"/>
                  <a:pt x="1096" y="54"/>
                </a:cubicBezTo>
                <a:lnTo>
                  <a:pt x="1091" y="54"/>
                </a:lnTo>
                <a:close/>
                <a:moveTo>
                  <a:pt x="1106" y="36"/>
                </a:moveTo>
                <a:cubicBezTo>
                  <a:pt x="1106" y="27"/>
                  <a:pt x="1109" y="18"/>
                  <a:pt x="1120" y="18"/>
                </a:cubicBezTo>
                <a:cubicBezTo>
                  <a:pt x="1131" y="18"/>
                  <a:pt x="1134" y="27"/>
                  <a:pt x="1134" y="36"/>
                </a:cubicBezTo>
                <a:cubicBezTo>
                  <a:pt x="1134" y="46"/>
                  <a:pt x="1131" y="55"/>
                  <a:pt x="1120" y="55"/>
                </a:cubicBezTo>
                <a:cubicBezTo>
                  <a:pt x="1109" y="55"/>
                  <a:pt x="1106" y="46"/>
                  <a:pt x="1106" y="36"/>
                </a:cubicBezTo>
                <a:close/>
                <a:moveTo>
                  <a:pt x="1129" y="36"/>
                </a:moveTo>
                <a:cubicBezTo>
                  <a:pt x="1129" y="31"/>
                  <a:pt x="1127" y="22"/>
                  <a:pt x="1120" y="22"/>
                </a:cubicBezTo>
                <a:cubicBezTo>
                  <a:pt x="1113" y="22"/>
                  <a:pt x="1111" y="31"/>
                  <a:pt x="1111" y="36"/>
                </a:cubicBezTo>
                <a:cubicBezTo>
                  <a:pt x="1111" y="42"/>
                  <a:pt x="1113" y="50"/>
                  <a:pt x="1120" y="50"/>
                </a:cubicBezTo>
                <a:cubicBezTo>
                  <a:pt x="1127" y="50"/>
                  <a:pt x="1129" y="42"/>
                  <a:pt x="1129" y="36"/>
                </a:cubicBezTo>
                <a:close/>
                <a:moveTo>
                  <a:pt x="1163" y="54"/>
                </a:moveTo>
                <a:cubicBezTo>
                  <a:pt x="1163" y="34"/>
                  <a:pt x="1163" y="34"/>
                  <a:pt x="1163" y="34"/>
                </a:cubicBezTo>
                <a:cubicBezTo>
                  <a:pt x="1163" y="30"/>
                  <a:pt x="1164" y="23"/>
                  <a:pt x="1158" y="23"/>
                </a:cubicBezTo>
                <a:cubicBezTo>
                  <a:pt x="1151" y="23"/>
                  <a:pt x="1148" y="34"/>
                  <a:pt x="1148" y="39"/>
                </a:cubicBezTo>
                <a:cubicBezTo>
                  <a:pt x="1148" y="54"/>
                  <a:pt x="1148" y="54"/>
                  <a:pt x="1148" y="54"/>
                </a:cubicBezTo>
                <a:cubicBezTo>
                  <a:pt x="1143" y="54"/>
                  <a:pt x="1143" y="54"/>
                  <a:pt x="1143" y="54"/>
                </a:cubicBezTo>
                <a:cubicBezTo>
                  <a:pt x="1143" y="19"/>
                  <a:pt x="1143" y="19"/>
                  <a:pt x="1143" y="19"/>
                </a:cubicBezTo>
                <a:cubicBezTo>
                  <a:pt x="1148" y="19"/>
                  <a:pt x="1148" y="19"/>
                  <a:pt x="1148" y="19"/>
                </a:cubicBezTo>
                <a:cubicBezTo>
                  <a:pt x="1148" y="27"/>
                  <a:pt x="1148" y="27"/>
                  <a:pt x="1148" y="27"/>
                </a:cubicBezTo>
                <a:cubicBezTo>
                  <a:pt x="1148" y="27"/>
                  <a:pt x="1148" y="27"/>
                  <a:pt x="1148" y="27"/>
                </a:cubicBezTo>
                <a:cubicBezTo>
                  <a:pt x="1150" y="21"/>
                  <a:pt x="1153" y="18"/>
                  <a:pt x="1159" y="18"/>
                </a:cubicBezTo>
                <a:cubicBezTo>
                  <a:pt x="1165" y="18"/>
                  <a:pt x="1168" y="23"/>
                  <a:pt x="1168" y="29"/>
                </a:cubicBezTo>
                <a:cubicBezTo>
                  <a:pt x="1168" y="54"/>
                  <a:pt x="1168" y="54"/>
                  <a:pt x="1168" y="54"/>
                </a:cubicBezTo>
                <a:lnTo>
                  <a:pt x="1163" y="54"/>
                </a:lnTo>
                <a:close/>
                <a:moveTo>
                  <a:pt x="1176" y="49"/>
                </a:moveTo>
                <a:cubicBezTo>
                  <a:pt x="1179" y="50"/>
                  <a:pt x="1182" y="50"/>
                  <a:pt x="1185" y="50"/>
                </a:cubicBezTo>
                <a:cubicBezTo>
                  <a:pt x="1189" y="50"/>
                  <a:pt x="1194" y="49"/>
                  <a:pt x="1194" y="45"/>
                </a:cubicBezTo>
                <a:cubicBezTo>
                  <a:pt x="1194" y="41"/>
                  <a:pt x="1190" y="40"/>
                  <a:pt x="1187" y="38"/>
                </a:cubicBezTo>
                <a:cubicBezTo>
                  <a:pt x="1184" y="37"/>
                  <a:pt x="1184" y="37"/>
                  <a:pt x="1184" y="37"/>
                </a:cubicBezTo>
                <a:cubicBezTo>
                  <a:pt x="1180" y="35"/>
                  <a:pt x="1176" y="33"/>
                  <a:pt x="1176" y="27"/>
                </a:cubicBezTo>
                <a:cubicBezTo>
                  <a:pt x="1176" y="20"/>
                  <a:pt x="1182" y="18"/>
                  <a:pt x="1188" y="18"/>
                </a:cubicBezTo>
                <a:cubicBezTo>
                  <a:pt x="1191" y="18"/>
                  <a:pt x="1194" y="18"/>
                  <a:pt x="1197" y="19"/>
                </a:cubicBezTo>
                <a:cubicBezTo>
                  <a:pt x="1197" y="24"/>
                  <a:pt x="1197" y="24"/>
                  <a:pt x="1197" y="24"/>
                </a:cubicBezTo>
                <a:cubicBezTo>
                  <a:pt x="1194" y="23"/>
                  <a:pt x="1191" y="22"/>
                  <a:pt x="1188" y="22"/>
                </a:cubicBezTo>
                <a:cubicBezTo>
                  <a:pt x="1186" y="22"/>
                  <a:pt x="1181" y="23"/>
                  <a:pt x="1181" y="27"/>
                </a:cubicBezTo>
                <a:cubicBezTo>
                  <a:pt x="1181" y="30"/>
                  <a:pt x="1185" y="31"/>
                  <a:pt x="1188" y="32"/>
                </a:cubicBezTo>
                <a:cubicBezTo>
                  <a:pt x="1191" y="34"/>
                  <a:pt x="1191" y="34"/>
                  <a:pt x="1191" y="34"/>
                </a:cubicBezTo>
                <a:cubicBezTo>
                  <a:pt x="1195" y="37"/>
                  <a:pt x="1199" y="38"/>
                  <a:pt x="1199" y="44"/>
                </a:cubicBezTo>
                <a:cubicBezTo>
                  <a:pt x="1199" y="52"/>
                  <a:pt x="1193" y="55"/>
                  <a:pt x="1186" y="55"/>
                </a:cubicBezTo>
                <a:cubicBezTo>
                  <a:pt x="1182" y="55"/>
                  <a:pt x="1179" y="54"/>
                  <a:pt x="1176" y="53"/>
                </a:cubicBezTo>
                <a:lnTo>
                  <a:pt x="1176" y="4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609603" y="420673"/>
            <a:ext cx="2910215" cy="633434"/>
            <a:chOff x="457202" y="420673"/>
            <a:chExt cx="2182661" cy="633434"/>
          </a:xfrm>
        </p:grpSpPr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457202" y="668790"/>
              <a:ext cx="2182661" cy="385317"/>
            </a:xfrm>
            <a:custGeom>
              <a:avLst/>
              <a:gdLst>
                <a:gd name="T0" fmla="*/ 35 w 765"/>
                <a:gd name="T1" fmla="*/ 118 h 135"/>
                <a:gd name="T2" fmla="*/ 56 w 765"/>
                <a:gd name="T3" fmla="*/ 88 h 135"/>
                <a:gd name="T4" fmla="*/ 78 w 765"/>
                <a:gd name="T5" fmla="*/ 62 h 135"/>
                <a:gd name="T6" fmla="*/ 4 w 765"/>
                <a:gd name="T7" fmla="*/ 62 h 135"/>
                <a:gd name="T8" fmla="*/ 42 w 765"/>
                <a:gd name="T9" fmla="*/ 47 h 135"/>
                <a:gd name="T10" fmla="*/ 56 w 765"/>
                <a:gd name="T11" fmla="*/ 75 h 135"/>
                <a:gd name="T12" fmla="*/ 30 w 765"/>
                <a:gd name="T13" fmla="*/ 135 h 135"/>
                <a:gd name="T14" fmla="*/ 56 w 765"/>
                <a:gd name="T15" fmla="*/ 121 h 135"/>
                <a:gd name="T16" fmla="*/ 78 w 765"/>
                <a:gd name="T17" fmla="*/ 132 h 135"/>
                <a:gd name="T18" fmla="*/ 132 w 765"/>
                <a:gd name="T19" fmla="*/ 47 h 135"/>
                <a:gd name="T20" fmla="*/ 154 w 765"/>
                <a:gd name="T21" fmla="*/ 118 h 135"/>
                <a:gd name="T22" fmla="*/ 171 w 765"/>
                <a:gd name="T23" fmla="*/ 130 h 135"/>
                <a:gd name="T24" fmla="*/ 88 w 765"/>
                <a:gd name="T25" fmla="*/ 78 h 135"/>
                <a:gd name="T26" fmla="*/ 172 w 765"/>
                <a:gd name="T27" fmla="*/ 67 h 135"/>
                <a:gd name="T28" fmla="*/ 236 w 765"/>
                <a:gd name="T29" fmla="*/ 67 h 135"/>
                <a:gd name="T30" fmla="*/ 202 w 765"/>
                <a:gd name="T31" fmla="*/ 74 h 135"/>
                <a:gd name="T32" fmla="*/ 260 w 765"/>
                <a:gd name="T33" fmla="*/ 116 h 135"/>
                <a:gd name="T34" fmla="*/ 231 w 765"/>
                <a:gd name="T35" fmla="*/ 135 h 135"/>
                <a:gd name="T36" fmla="*/ 223 w 765"/>
                <a:gd name="T37" fmla="*/ 31 h 135"/>
                <a:gd name="T38" fmla="*/ 236 w 765"/>
                <a:gd name="T39" fmla="*/ 67 h 135"/>
                <a:gd name="T40" fmla="*/ 291 w 765"/>
                <a:gd name="T41" fmla="*/ 63 h 135"/>
                <a:gd name="T42" fmla="*/ 327 w 765"/>
                <a:gd name="T43" fmla="*/ 63 h 135"/>
                <a:gd name="T44" fmla="*/ 349 w 765"/>
                <a:gd name="T45" fmla="*/ 71 h 135"/>
                <a:gd name="T46" fmla="*/ 269 w 765"/>
                <a:gd name="T47" fmla="*/ 77 h 135"/>
                <a:gd name="T48" fmla="*/ 347 w 765"/>
                <a:gd name="T49" fmla="*/ 131 h 135"/>
                <a:gd name="T50" fmla="*/ 328 w 765"/>
                <a:gd name="T51" fmla="*/ 118 h 135"/>
                <a:gd name="T52" fmla="*/ 349 w 765"/>
                <a:gd name="T53" fmla="*/ 77 h 135"/>
                <a:gd name="T54" fmla="*/ 418 w 765"/>
                <a:gd name="T55" fmla="*/ 76 h 135"/>
                <a:gd name="T56" fmla="*/ 408 w 765"/>
                <a:gd name="T57" fmla="*/ 52 h 135"/>
                <a:gd name="T58" fmla="*/ 384 w 765"/>
                <a:gd name="T59" fmla="*/ 132 h 135"/>
                <a:gd name="T60" fmla="*/ 361 w 765"/>
                <a:gd name="T61" fmla="*/ 33 h 135"/>
                <a:gd name="T62" fmla="*/ 384 w 765"/>
                <a:gd name="T63" fmla="*/ 51 h 135"/>
                <a:gd name="T64" fmla="*/ 414 w 765"/>
                <a:gd name="T65" fmla="*/ 31 h 135"/>
                <a:gd name="T66" fmla="*/ 441 w 765"/>
                <a:gd name="T67" fmla="*/ 132 h 135"/>
                <a:gd name="T68" fmla="*/ 489 w 765"/>
                <a:gd name="T69" fmla="*/ 49 h 135"/>
                <a:gd name="T70" fmla="*/ 505 w 765"/>
                <a:gd name="T71" fmla="*/ 118 h 135"/>
                <a:gd name="T72" fmla="*/ 516 w 765"/>
                <a:gd name="T73" fmla="*/ 133 h 135"/>
                <a:gd name="T74" fmla="*/ 466 w 765"/>
                <a:gd name="T75" fmla="*/ 107 h 135"/>
                <a:gd name="T76" fmla="*/ 447 w 765"/>
                <a:gd name="T77" fmla="*/ 49 h 135"/>
                <a:gd name="T78" fmla="*/ 466 w 765"/>
                <a:gd name="T79" fmla="*/ 33 h 135"/>
                <a:gd name="T80" fmla="*/ 489 w 765"/>
                <a:gd name="T81" fmla="*/ 0 h 135"/>
                <a:gd name="T82" fmla="*/ 519 w 765"/>
                <a:gd name="T83" fmla="*/ 33 h 135"/>
                <a:gd name="T84" fmla="*/ 489 w 765"/>
                <a:gd name="T85" fmla="*/ 49 h 135"/>
                <a:gd name="T86" fmla="*/ 586 w 765"/>
                <a:gd name="T87" fmla="*/ 114 h 135"/>
                <a:gd name="T88" fmla="*/ 556 w 765"/>
                <a:gd name="T89" fmla="*/ 135 h 135"/>
                <a:gd name="T90" fmla="*/ 529 w 765"/>
                <a:gd name="T91" fmla="*/ 33 h 135"/>
                <a:gd name="T92" fmla="*/ 552 w 765"/>
                <a:gd name="T93" fmla="*/ 90 h 135"/>
                <a:gd name="T94" fmla="*/ 563 w 765"/>
                <a:gd name="T95" fmla="*/ 113 h 135"/>
                <a:gd name="T96" fmla="*/ 586 w 765"/>
                <a:gd name="T97" fmla="*/ 33 h 135"/>
                <a:gd name="T98" fmla="*/ 609 w 765"/>
                <a:gd name="T99" fmla="*/ 132 h 135"/>
                <a:gd name="T100" fmla="*/ 647 w 765"/>
                <a:gd name="T101" fmla="*/ 89 h 135"/>
                <a:gd name="T102" fmla="*/ 624 w 765"/>
                <a:gd name="T103" fmla="*/ 132 h 135"/>
                <a:gd name="T104" fmla="*/ 647 w 765"/>
                <a:gd name="T105" fmla="*/ 33 h 135"/>
                <a:gd name="T106" fmla="*/ 648 w 765"/>
                <a:gd name="T107" fmla="*/ 51 h 135"/>
                <a:gd name="T108" fmla="*/ 680 w 765"/>
                <a:gd name="T109" fmla="*/ 55 h 135"/>
                <a:gd name="T110" fmla="*/ 743 w 765"/>
                <a:gd name="T111" fmla="*/ 63 h 135"/>
                <a:gd name="T112" fmla="*/ 726 w 765"/>
                <a:gd name="T113" fmla="*/ 45 h 135"/>
                <a:gd name="T114" fmla="*/ 765 w 765"/>
                <a:gd name="T115" fmla="*/ 77 h 135"/>
                <a:gd name="T116" fmla="*/ 727 w 765"/>
                <a:gd name="T117" fmla="*/ 31 h 135"/>
                <a:gd name="T118" fmla="*/ 735 w 765"/>
                <a:gd name="T119" fmla="*/ 135 h 135"/>
                <a:gd name="T120" fmla="*/ 763 w 765"/>
                <a:gd name="T121" fmla="*/ 115 h 135"/>
                <a:gd name="T122" fmla="*/ 706 w 765"/>
                <a:gd name="T123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5" h="135">
                  <a:moveTo>
                    <a:pt x="56" y="88"/>
                  </a:moveTo>
                  <a:cubicBezTo>
                    <a:pt x="56" y="101"/>
                    <a:pt x="51" y="118"/>
                    <a:pt x="35" y="118"/>
                  </a:cubicBezTo>
                  <a:cubicBezTo>
                    <a:pt x="28" y="118"/>
                    <a:pt x="23" y="114"/>
                    <a:pt x="23" y="106"/>
                  </a:cubicBezTo>
                  <a:cubicBezTo>
                    <a:pt x="23" y="91"/>
                    <a:pt x="45" y="88"/>
                    <a:pt x="56" y="88"/>
                  </a:cubicBezTo>
                  <a:close/>
                  <a:moveTo>
                    <a:pt x="78" y="13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38"/>
                    <a:pt x="63" y="31"/>
                    <a:pt x="42" y="31"/>
                  </a:cubicBezTo>
                  <a:cubicBezTo>
                    <a:pt x="21" y="31"/>
                    <a:pt x="4" y="39"/>
                    <a:pt x="4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52"/>
                    <a:pt x="32" y="47"/>
                    <a:pt x="42" y="47"/>
                  </a:cubicBezTo>
                  <a:cubicBezTo>
                    <a:pt x="53" y="47"/>
                    <a:pt x="56" y="55"/>
                    <a:pt x="56" y="6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33" y="76"/>
                    <a:pt x="0" y="79"/>
                    <a:pt x="0" y="109"/>
                  </a:cubicBezTo>
                  <a:cubicBezTo>
                    <a:pt x="0" y="125"/>
                    <a:pt x="14" y="135"/>
                    <a:pt x="30" y="135"/>
                  </a:cubicBezTo>
                  <a:cubicBezTo>
                    <a:pt x="41" y="135"/>
                    <a:pt x="51" y="131"/>
                    <a:pt x="56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32"/>
                    <a:pt x="56" y="132"/>
                    <a:pt x="56" y="132"/>
                  </a:cubicBezTo>
                  <a:lnTo>
                    <a:pt x="78" y="132"/>
                  </a:lnTo>
                  <a:close/>
                  <a:moveTo>
                    <a:pt x="147" y="67"/>
                  </a:moveTo>
                  <a:cubicBezTo>
                    <a:pt x="147" y="57"/>
                    <a:pt x="144" y="47"/>
                    <a:pt x="132" y="47"/>
                  </a:cubicBezTo>
                  <a:cubicBezTo>
                    <a:pt x="117" y="47"/>
                    <a:pt x="113" y="62"/>
                    <a:pt x="113" y="74"/>
                  </a:cubicBezTo>
                  <a:cubicBezTo>
                    <a:pt x="113" y="99"/>
                    <a:pt x="128" y="118"/>
                    <a:pt x="154" y="118"/>
                  </a:cubicBezTo>
                  <a:cubicBezTo>
                    <a:pt x="160" y="118"/>
                    <a:pt x="165" y="118"/>
                    <a:pt x="171" y="116"/>
                  </a:cubicBezTo>
                  <a:cubicBezTo>
                    <a:pt x="171" y="130"/>
                    <a:pt x="171" y="130"/>
                    <a:pt x="171" y="130"/>
                  </a:cubicBezTo>
                  <a:cubicBezTo>
                    <a:pt x="161" y="133"/>
                    <a:pt x="151" y="135"/>
                    <a:pt x="142" y="135"/>
                  </a:cubicBezTo>
                  <a:cubicBezTo>
                    <a:pt x="106" y="135"/>
                    <a:pt x="88" y="113"/>
                    <a:pt x="88" y="78"/>
                  </a:cubicBezTo>
                  <a:cubicBezTo>
                    <a:pt x="88" y="49"/>
                    <a:pt x="104" y="31"/>
                    <a:pt x="134" y="31"/>
                  </a:cubicBezTo>
                  <a:cubicBezTo>
                    <a:pt x="158" y="31"/>
                    <a:pt x="172" y="42"/>
                    <a:pt x="172" y="67"/>
                  </a:cubicBezTo>
                  <a:lnTo>
                    <a:pt x="147" y="67"/>
                  </a:lnTo>
                  <a:close/>
                  <a:moveTo>
                    <a:pt x="236" y="67"/>
                  </a:moveTo>
                  <a:cubicBezTo>
                    <a:pt x="236" y="57"/>
                    <a:pt x="233" y="47"/>
                    <a:pt x="221" y="47"/>
                  </a:cubicBezTo>
                  <a:cubicBezTo>
                    <a:pt x="206" y="47"/>
                    <a:pt x="202" y="62"/>
                    <a:pt x="202" y="74"/>
                  </a:cubicBezTo>
                  <a:cubicBezTo>
                    <a:pt x="202" y="99"/>
                    <a:pt x="217" y="118"/>
                    <a:pt x="243" y="118"/>
                  </a:cubicBezTo>
                  <a:cubicBezTo>
                    <a:pt x="249" y="118"/>
                    <a:pt x="254" y="118"/>
                    <a:pt x="260" y="116"/>
                  </a:cubicBezTo>
                  <a:cubicBezTo>
                    <a:pt x="260" y="130"/>
                    <a:pt x="260" y="130"/>
                    <a:pt x="260" y="130"/>
                  </a:cubicBezTo>
                  <a:cubicBezTo>
                    <a:pt x="250" y="133"/>
                    <a:pt x="241" y="135"/>
                    <a:pt x="231" y="135"/>
                  </a:cubicBezTo>
                  <a:cubicBezTo>
                    <a:pt x="195" y="135"/>
                    <a:pt x="177" y="113"/>
                    <a:pt x="177" y="78"/>
                  </a:cubicBezTo>
                  <a:cubicBezTo>
                    <a:pt x="177" y="49"/>
                    <a:pt x="193" y="31"/>
                    <a:pt x="223" y="31"/>
                  </a:cubicBezTo>
                  <a:cubicBezTo>
                    <a:pt x="247" y="31"/>
                    <a:pt x="261" y="42"/>
                    <a:pt x="261" y="67"/>
                  </a:cubicBezTo>
                  <a:lnTo>
                    <a:pt x="236" y="67"/>
                  </a:lnTo>
                  <a:close/>
                  <a:moveTo>
                    <a:pt x="327" y="63"/>
                  </a:moveTo>
                  <a:cubicBezTo>
                    <a:pt x="291" y="63"/>
                    <a:pt x="291" y="63"/>
                    <a:pt x="291" y="63"/>
                  </a:cubicBezTo>
                  <a:cubicBezTo>
                    <a:pt x="292" y="53"/>
                    <a:pt x="300" y="45"/>
                    <a:pt x="310" y="45"/>
                  </a:cubicBezTo>
                  <a:cubicBezTo>
                    <a:pt x="320" y="45"/>
                    <a:pt x="327" y="52"/>
                    <a:pt x="327" y="63"/>
                  </a:cubicBezTo>
                  <a:close/>
                  <a:moveTo>
                    <a:pt x="349" y="77"/>
                  </a:moveTo>
                  <a:cubicBezTo>
                    <a:pt x="349" y="71"/>
                    <a:pt x="349" y="71"/>
                    <a:pt x="349" y="71"/>
                  </a:cubicBezTo>
                  <a:cubicBezTo>
                    <a:pt x="349" y="47"/>
                    <a:pt x="337" y="31"/>
                    <a:pt x="311" y="31"/>
                  </a:cubicBezTo>
                  <a:cubicBezTo>
                    <a:pt x="282" y="31"/>
                    <a:pt x="269" y="49"/>
                    <a:pt x="269" y="77"/>
                  </a:cubicBezTo>
                  <a:cubicBezTo>
                    <a:pt x="269" y="110"/>
                    <a:pt x="283" y="135"/>
                    <a:pt x="319" y="135"/>
                  </a:cubicBezTo>
                  <a:cubicBezTo>
                    <a:pt x="328" y="135"/>
                    <a:pt x="338" y="134"/>
                    <a:pt x="347" y="131"/>
                  </a:cubicBezTo>
                  <a:cubicBezTo>
                    <a:pt x="347" y="115"/>
                    <a:pt x="347" y="115"/>
                    <a:pt x="347" y="115"/>
                  </a:cubicBezTo>
                  <a:cubicBezTo>
                    <a:pt x="341" y="117"/>
                    <a:pt x="334" y="118"/>
                    <a:pt x="328" y="118"/>
                  </a:cubicBezTo>
                  <a:cubicBezTo>
                    <a:pt x="305" y="118"/>
                    <a:pt x="290" y="98"/>
                    <a:pt x="290" y="77"/>
                  </a:cubicBezTo>
                  <a:lnTo>
                    <a:pt x="349" y="77"/>
                  </a:lnTo>
                  <a:close/>
                  <a:moveTo>
                    <a:pt x="418" y="132"/>
                  </a:moveTo>
                  <a:cubicBezTo>
                    <a:pt x="418" y="76"/>
                    <a:pt x="418" y="76"/>
                    <a:pt x="418" y="76"/>
                  </a:cubicBezTo>
                  <a:cubicBezTo>
                    <a:pt x="418" y="71"/>
                    <a:pt x="418" y="58"/>
                    <a:pt x="414" y="54"/>
                  </a:cubicBezTo>
                  <a:cubicBezTo>
                    <a:pt x="413" y="53"/>
                    <a:pt x="410" y="52"/>
                    <a:pt x="408" y="52"/>
                  </a:cubicBezTo>
                  <a:cubicBezTo>
                    <a:pt x="391" y="52"/>
                    <a:pt x="384" y="76"/>
                    <a:pt x="384" y="89"/>
                  </a:cubicBezTo>
                  <a:cubicBezTo>
                    <a:pt x="384" y="132"/>
                    <a:pt x="384" y="132"/>
                    <a:pt x="384" y="132"/>
                  </a:cubicBezTo>
                  <a:cubicBezTo>
                    <a:pt x="361" y="132"/>
                    <a:pt x="361" y="132"/>
                    <a:pt x="361" y="132"/>
                  </a:cubicBezTo>
                  <a:cubicBezTo>
                    <a:pt x="361" y="33"/>
                    <a:pt x="361" y="33"/>
                    <a:pt x="361" y="33"/>
                  </a:cubicBezTo>
                  <a:cubicBezTo>
                    <a:pt x="384" y="33"/>
                    <a:pt x="384" y="33"/>
                    <a:pt x="384" y="33"/>
                  </a:cubicBezTo>
                  <a:cubicBezTo>
                    <a:pt x="384" y="51"/>
                    <a:pt x="384" y="51"/>
                    <a:pt x="384" y="51"/>
                  </a:cubicBezTo>
                  <a:cubicBezTo>
                    <a:pt x="385" y="51"/>
                    <a:pt x="385" y="51"/>
                    <a:pt x="385" y="51"/>
                  </a:cubicBezTo>
                  <a:cubicBezTo>
                    <a:pt x="390" y="39"/>
                    <a:pt x="400" y="31"/>
                    <a:pt x="414" y="31"/>
                  </a:cubicBezTo>
                  <a:cubicBezTo>
                    <a:pt x="433" y="31"/>
                    <a:pt x="441" y="46"/>
                    <a:pt x="441" y="63"/>
                  </a:cubicBezTo>
                  <a:cubicBezTo>
                    <a:pt x="441" y="132"/>
                    <a:pt x="441" y="132"/>
                    <a:pt x="441" y="132"/>
                  </a:cubicBezTo>
                  <a:lnTo>
                    <a:pt x="418" y="132"/>
                  </a:lnTo>
                  <a:close/>
                  <a:moveTo>
                    <a:pt x="489" y="49"/>
                  </a:moveTo>
                  <a:cubicBezTo>
                    <a:pt x="489" y="96"/>
                    <a:pt x="489" y="96"/>
                    <a:pt x="489" y="96"/>
                  </a:cubicBezTo>
                  <a:cubicBezTo>
                    <a:pt x="489" y="108"/>
                    <a:pt x="491" y="118"/>
                    <a:pt x="505" y="118"/>
                  </a:cubicBezTo>
                  <a:cubicBezTo>
                    <a:pt x="509" y="118"/>
                    <a:pt x="512" y="118"/>
                    <a:pt x="516" y="117"/>
                  </a:cubicBezTo>
                  <a:cubicBezTo>
                    <a:pt x="516" y="133"/>
                    <a:pt x="516" y="133"/>
                    <a:pt x="516" y="133"/>
                  </a:cubicBezTo>
                  <a:cubicBezTo>
                    <a:pt x="510" y="134"/>
                    <a:pt x="503" y="135"/>
                    <a:pt x="497" y="135"/>
                  </a:cubicBezTo>
                  <a:cubicBezTo>
                    <a:pt x="477" y="135"/>
                    <a:pt x="466" y="128"/>
                    <a:pt x="466" y="107"/>
                  </a:cubicBezTo>
                  <a:cubicBezTo>
                    <a:pt x="466" y="49"/>
                    <a:pt x="466" y="49"/>
                    <a:pt x="466" y="49"/>
                  </a:cubicBezTo>
                  <a:cubicBezTo>
                    <a:pt x="447" y="49"/>
                    <a:pt x="447" y="49"/>
                    <a:pt x="447" y="49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66" y="33"/>
                    <a:pt x="466" y="33"/>
                    <a:pt x="466" y="33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9" y="33"/>
                    <a:pt x="489" y="33"/>
                    <a:pt x="489" y="33"/>
                  </a:cubicBezTo>
                  <a:cubicBezTo>
                    <a:pt x="519" y="33"/>
                    <a:pt x="519" y="33"/>
                    <a:pt x="519" y="33"/>
                  </a:cubicBezTo>
                  <a:cubicBezTo>
                    <a:pt x="519" y="49"/>
                    <a:pt x="519" y="49"/>
                    <a:pt x="519" y="49"/>
                  </a:cubicBezTo>
                  <a:lnTo>
                    <a:pt x="489" y="49"/>
                  </a:lnTo>
                  <a:close/>
                  <a:moveTo>
                    <a:pt x="586" y="132"/>
                  </a:moveTo>
                  <a:cubicBezTo>
                    <a:pt x="586" y="114"/>
                    <a:pt x="586" y="114"/>
                    <a:pt x="586" y="114"/>
                  </a:cubicBezTo>
                  <a:cubicBezTo>
                    <a:pt x="586" y="114"/>
                    <a:pt x="586" y="114"/>
                    <a:pt x="586" y="114"/>
                  </a:cubicBezTo>
                  <a:cubicBezTo>
                    <a:pt x="580" y="126"/>
                    <a:pt x="570" y="135"/>
                    <a:pt x="556" y="135"/>
                  </a:cubicBezTo>
                  <a:cubicBezTo>
                    <a:pt x="537" y="135"/>
                    <a:pt x="529" y="119"/>
                    <a:pt x="529" y="102"/>
                  </a:cubicBezTo>
                  <a:cubicBezTo>
                    <a:pt x="529" y="33"/>
                    <a:pt x="529" y="33"/>
                    <a:pt x="529" y="33"/>
                  </a:cubicBezTo>
                  <a:cubicBezTo>
                    <a:pt x="552" y="33"/>
                    <a:pt x="552" y="33"/>
                    <a:pt x="552" y="33"/>
                  </a:cubicBezTo>
                  <a:cubicBezTo>
                    <a:pt x="552" y="90"/>
                    <a:pt x="552" y="90"/>
                    <a:pt x="552" y="90"/>
                  </a:cubicBezTo>
                  <a:cubicBezTo>
                    <a:pt x="552" y="95"/>
                    <a:pt x="552" y="107"/>
                    <a:pt x="556" y="111"/>
                  </a:cubicBezTo>
                  <a:cubicBezTo>
                    <a:pt x="558" y="113"/>
                    <a:pt x="560" y="113"/>
                    <a:pt x="563" y="113"/>
                  </a:cubicBezTo>
                  <a:cubicBezTo>
                    <a:pt x="579" y="113"/>
                    <a:pt x="586" y="89"/>
                    <a:pt x="586" y="76"/>
                  </a:cubicBezTo>
                  <a:cubicBezTo>
                    <a:pt x="586" y="33"/>
                    <a:pt x="586" y="33"/>
                    <a:pt x="586" y="33"/>
                  </a:cubicBezTo>
                  <a:cubicBezTo>
                    <a:pt x="609" y="33"/>
                    <a:pt x="609" y="33"/>
                    <a:pt x="609" y="33"/>
                  </a:cubicBezTo>
                  <a:cubicBezTo>
                    <a:pt x="609" y="132"/>
                    <a:pt x="609" y="132"/>
                    <a:pt x="609" y="132"/>
                  </a:cubicBezTo>
                  <a:lnTo>
                    <a:pt x="586" y="132"/>
                  </a:lnTo>
                  <a:close/>
                  <a:moveTo>
                    <a:pt x="647" y="89"/>
                  </a:moveTo>
                  <a:cubicBezTo>
                    <a:pt x="647" y="132"/>
                    <a:pt x="647" y="132"/>
                    <a:pt x="647" y="132"/>
                  </a:cubicBezTo>
                  <a:cubicBezTo>
                    <a:pt x="624" y="132"/>
                    <a:pt x="624" y="132"/>
                    <a:pt x="624" y="132"/>
                  </a:cubicBezTo>
                  <a:cubicBezTo>
                    <a:pt x="624" y="33"/>
                    <a:pt x="624" y="33"/>
                    <a:pt x="624" y="33"/>
                  </a:cubicBezTo>
                  <a:cubicBezTo>
                    <a:pt x="647" y="33"/>
                    <a:pt x="647" y="33"/>
                    <a:pt x="647" y="33"/>
                  </a:cubicBezTo>
                  <a:cubicBezTo>
                    <a:pt x="647" y="51"/>
                    <a:pt x="647" y="51"/>
                    <a:pt x="647" y="51"/>
                  </a:cubicBezTo>
                  <a:cubicBezTo>
                    <a:pt x="648" y="51"/>
                    <a:pt x="648" y="51"/>
                    <a:pt x="648" y="51"/>
                  </a:cubicBezTo>
                  <a:cubicBezTo>
                    <a:pt x="655" y="37"/>
                    <a:pt x="663" y="31"/>
                    <a:pt x="680" y="31"/>
                  </a:cubicBezTo>
                  <a:cubicBezTo>
                    <a:pt x="680" y="55"/>
                    <a:pt x="680" y="55"/>
                    <a:pt x="680" y="55"/>
                  </a:cubicBezTo>
                  <a:cubicBezTo>
                    <a:pt x="656" y="55"/>
                    <a:pt x="647" y="65"/>
                    <a:pt x="647" y="89"/>
                  </a:cubicBezTo>
                  <a:close/>
                  <a:moveTo>
                    <a:pt x="743" y="63"/>
                  </a:moveTo>
                  <a:cubicBezTo>
                    <a:pt x="707" y="63"/>
                    <a:pt x="707" y="63"/>
                    <a:pt x="707" y="63"/>
                  </a:cubicBezTo>
                  <a:cubicBezTo>
                    <a:pt x="708" y="53"/>
                    <a:pt x="715" y="45"/>
                    <a:pt x="726" y="45"/>
                  </a:cubicBezTo>
                  <a:cubicBezTo>
                    <a:pt x="736" y="45"/>
                    <a:pt x="743" y="52"/>
                    <a:pt x="743" y="63"/>
                  </a:cubicBezTo>
                  <a:close/>
                  <a:moveTo>
                    <a:pt x="765" y="77"/>
                  </a:moveTo>
                  <a:cubicBezTo>
                    <a:pt x="765" y="71"/>
                    <a:pt x="765" y="71"/>
                    <a:pt x="765" y="71"/>
                  </a:cubicBezTo>
                  <a:cubicBezTo>
                    <a:pt x="765" y="47"/>
                    <a:pt x="753" y="31"/>
                    <a:pt x="727" y="31"/>
                  </a:cubicBezTo>
                  <a:cubicBezTo>
                    <a:pt x="698" y="31"/>
                    <a:pt x="685" y="49"/>
                    <a:pt x="685" y="77"/>
                  </a:cubicBezTo>
                  <a:cubicBezTo>
                    <a:pt x="685" y="110"/>
                    <a:pt x="699" y="135"/>
                    <a:pt x="735" y="135"/>
                  </a:cubicBezTo>
                  <a:cubicBezTo>
                    <a:pt x="744" y="135"/>
                    <a:pt x="754" y="134"/>
                    <a:pt x="763" y="131"/>
                  </a:cubicBezTo>
                  <a:cubicBezTo>
                    <a:pt x="763" y="115"/>
                    <a:pt x="763" y="115"/>
                    <a:pt x="763" y="115"/>
                  </a:cubicBezTo>
                  <a:cubicBezTo>
                    <a:pt x="757" y="117"/>
                    <a:pt x="750" y="118"/>
                    <a:pt x="744" y="118"/>
                  </a:cubicBezTo>
                  <a:cubicBezTo>
                    <a:pt x="721" y="118"/>
                    <a:pt x="706" y="98"/>
                    <a:pt x="706" y="77"/>
                  </a:cubicBezTo>
                  <a:lnTo>
                    <a:pt x="765" y="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739049" y="420673"/>
              <a:ext cx="210120" cy="21513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09603" y="1599031"/>
            <a:ext cx="5344581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609602" y="2669757"/>
            <a:ext cx="5344581" cy="4675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607485" y="1159234"/>
            <a:ext cx="115845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7638648" y="2398139"/>
            <a:ext cx="4099192" cy="2061722"/>
            <a:chOff x="5728986" y="1472516"/>
            <a:chExt cx="3074394" cy="2061722"/>
          </a:xfrm>
        </p:grpSpPr>
        <p:sp>
          <p:nvSpPr>
            <p:cNvPr id="13" name="Freeform 12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9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99744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7485" y="1195200"/>
            <a:ext cx="10977033" cy="529301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880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AU" dirty="0"/>
              <a:t>Copyright © 2014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7485" y="1159234"/>
            <a:ext cx="1158451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22" r:id="rId2"/>
    <p:sldLayoutId id="2147483721" r:id="rId3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8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ATCI.SONG.iOWN@accenture.com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DF7EBA-7474-D7E6-F117-2ED7F37C1E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E9D65B-BB14-7CFB-0958-120FC3B4F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7D8978-BABB-1C59-855E-A8323F945742}"/>
              </a:ext>
            </a:extLst>
          </p:cNvPr>
          <p:cNvSpPr txBox="1"/>
          <p:nvPr/>
        </p:nvSpPr>
        <p:spPr>
          <a:xfrm>
            <a:off x="358170" y="1534886"/>
            <a:ext cx="1147565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Have regular huddles within your team to ensure you are making progress towards a measurable outc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Review with your project lead frequent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Send the completed story (format in Slide 2 &amp; 2) by </a:t>
            </a:r>
            <a:r>
              <a:rPr lang="en-US" b="1" dirty="0">
                <a:latin typeface="Graphik" panose="020B0503030202060203" pitchFamily="34" charset="0"/>
              </a:rPr>
              <a:t>23</a:t>
            </a:r>
            <a:r>
              <a:rPr lang="en-US" b="1" baseline="30000" dirty="0">
                <a:latin typeface="Graphik" panose="020B0503030202060203" pitchFamily="34" charset="0"/>
              </a:rPr>
              <a:t>rd</a:t>
            </a:r>
            <a:r>
              <a:rPr lang="en-US" b="1" dirty="0">
                <a:latin typeface="Graphik" panose="020B0503030202060203" pitchFamily="34" charset="0"/>
              </a:rPr>
              <a:t> April </a:t>
            </a:r>
            <a:r>
              <a:rPr lang="en-US" dirty="0">
                <a:latin typeface="Graphik" panose="020B0503030202060203" pitchFamily="34" charset="0"/>
              </a:rPr>
              <a:t>to </a:t>
            </a:r>
            <a:r>
              <a:rPr lang="en-US" dirty="0">
                <a:latin typeface="Graphik" panose="020B0503030202060203" pitchFamily="34" charset="0"/>
                <a:hlinkClick r:id="rId2"/>
              </a:rPr>
              <a:t>ATCI.SONG.iOWN@accenture.com</a:t>
            </a:r>
            <a:r>
              <a:rPr lang="en-US" dirty="0">
                <a:latin typeface="Graphik" panose="020B0503030202060203" pitchFamily="34" charset="0"/>
              </a:rPr>
              <a:t>, with the </a:t>
            </a:r>
            <a:r>
              <a:rPr lang="en-US" b="1" dirty="0">
                <a:latin typeface="Graphik" panose="020B0503030202060203" pitchFamily="34" charset="0"/>
              </a:rPr>
              <a:t>Subject line : Hot House Story</a:t>
            </a:r>
            <a:r>
              <a:rPr lang="en-US" dirty="0">
                <a:latin typeface="Graphik" panose="020B0503030202060203" pitchFamily="34" charset="0"/>
              </a:rPr>
              <a:t>. </a:t>
            </a:r>
            <a:r>
              <a:rPr lang="en-US" b="1" dirty="0">
                <a:latin typeface="Graphik" panose="020B0503030202060203" pitchFamily="34" charset="0"/>
              </a:rPr>
              <a:t>Note </a:t>
            </a:r>
            <a:r>
              <a:rPr lang="en-US" dirty="0">
                <a:latin typeface="Graphik" panose="020B0503030202060203" pitchFamily="34" charset="0"/>
              </a:rPr>
              <a:t>- </a:t>
            </a:r>
            <a:r>
              <a:rPr lang="en-US" b="1" dirty="0">
                <a:latin typeface="Graphik" panose="020B0503030202060203" pitchFamily="34" charset="0"/>
              </a:rPr>
              <a:t>1 submission per tea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Your story should be simple, sharp and focused on outco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raphik" panose="020B0503030202060203" pitchFamily="34" charset="0"/>
              </a:rPr>
              <a:t>By May 3</a:t>
            </a:r>
            <a:r>
              <a:rPr lang="en-US" b="1" baseline="30000" dirty="0">
                <a:latin typeface="Graphik" panose="020B0503030202060203" pitchFamily="34" charset="0"/>
              </a:rPr>
              <a:t>rd</a:t>
            </a:r>
            <a:r>
              <a:rPr lang="en-US" b="1" dirty="0">
                <a:latin typeface="Graphik" panose="020B0503030202060203" pitchFamily="34" charset="0"/>
              </a:rPr>
              <a:t>  : </a:t>
            </a:r>
            <a:r>
              <a:rPr lang="en-US" dirty="0">
                <a:latin typeface="Graphik" panose="020B0503030202060203" pitchFamily="34" charset="0"/>
              </a:rPr>
              <a:t>Completion of </a:t>
            </a:r>
            <a:r>
              <a:rPr lang="en-US" b="1" dirty="0">
                <a:latin typeface="Graphik" panose="020B0503030202060203" pitchFamily="34" charset="0"/>
              </a:rPr>
              <a:t>First round of review and selection </a:t>
            </a:r>
            <a:r>
              <a:rPr lang="en-US" dirty="0">
                <a:latin typeface="Graphik" panose="020B0503030202060203" pitchFamily="34" charset="0"/>
              </a:rPr>
              <a:t>of top 3 hot houses for each M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raphik" panose="020B0503030202060203" pitchFamily="34" charset="0"/>
              </a:rPr>
              <a:t>May 2</a:t>
            </a:r>
            <a:r>
              <a:rPr lang="en-US" b="1" baseline="30000" dirty="0">
                <a:latin typeface="Graphik" panose="020B0503030202060203" pitchFamily="34" charset="0"/>
              </a:rPr>
              <a:t>nd</a:t>
            </a:r>
            <a:r>
              <a:rPr lang="en-US" b="1" dirty="0">
                <a:latin typeface="Graphik" panose="020B0503030202060203" pitchFamily="34" charset="0"/>
              </a:rPr>
              <a:t> week</a:t>
            </a:r>
            <a:r>
              <a:rPr lang="en-US" dirty="0">
                <a:latin typeface="Graphik" panose="020B0503030202060203" pitchFamily="34" charset="0"/>
              </a:rPr>
              <a:t> - </a:t>
            </a:r>
            <a:r>
              <a:rPr lang="en-US" b="1" dirty="0">
                <a:latin typeface="Graphik" panose="020B0503030202060203" pitchFamily="34" charset="0"/>
              </a:rPr>
              <a:t>Finals</a:t>
            </a:r>
            <a:r>
              <a:rPr lang="en-US" dirty="0">
                <a:latin typeface="Graphik" panose="020B0503030202060203" pitchFamily="34" charset="0"/>
              </a:rPr>
              <a:t> for the shortlisted Hot Houses to identify Best 3 in each category, across Song Market. Here is a chance to be live with the Song leadership team and also ask them questions!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E26BFC-B0CB-6804-B624-7F7415BBB365}"/>
              </a:ext>
            </a:extLst>
          </p:cNvPr>
          <p:cNvSpPr txBox="1"/>
          <p:nvPr/>
        </p:nvSpPr>
        <p:spPr>
          <a:xfrm>
            <a:off x="683685" y="381990"/>
            <a:ext cx="6096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latin typeface="Graphik" panose="020B0503030202060203" pitchFamily="34" charset="0"/>
              </a:rPr>
              <a:t>Considerations </a:t>
            </a:r>
          </a:p>
        </p:txBody>
      </p:sp>
    </p:spTree>
    <p:extLst>
      <p:ext uri="{BB962C8B-B14F-4D97-AF65-F5344CB8AC3E}">
        <p14:creationId xmlns:p14="http://schemas.microsoft.com/office/powerpoint/2010/main" val="165609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0853807" y="6737782"/>
            <a:ext cx="730711" cy="128588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54117" y="1050272"/>
            <a:ext cx="5851491" cy="197055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Provide resources for basic setup for a reactive programming projec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New joiners can set up the reactive project by referring step by step guide, hence speeding up the process of deliverables and saving groundwork to be done on initial setup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Mentoring New Joiners not only for coding but also for overall ways of working on the project.</a:t>
            </a: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311285" y="3326002"/>
            <a:ext cx="5851491" cy="3411780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reated a p</a:t>
            </a: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laybook on Spring reactive, covering details about the use case implemented, code snippets, and implementation approach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reated  Spring Reactive POC with real-time use cases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onducted KT sessions to impart a basic understanding of Spring Reactive programming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Hand over the required reference documents to deep dive and learn more about Spring Reactive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ovided case studies and assignments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ontinuous guidance and assistance whenever needed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Regular cadence to connect on any challenges faced.</a:t>
            </a:r>
          </a:p>
          <a:p>
            <a:pPr marL="628650" lvl="2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07411" y="2723033"/>
            <a:ext cx="5579788" cy="1008269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6307411" y="3918796"/>
            <a:ext cx="5612213" cy="281266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0" lvl="1" algn="just" eaLnBrk="0" hangingPunct="0">
              <a:spcBef>
                <a:spcPct val="10000"/>
              </a:spcBef>
              <a:buClr>
                <a:srgbClr val="000000"/>
              </a:buClr>
              <a:buSzPct val="100000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ove away from the thread per request model and can handle more requests with a limited thread pool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event threads from blocking while waiting for I/O operations to complete hence maximum throughput can be achieved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ake it easy to do parallel calls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upport “back pressure”, giving the client a possibility to inform the server on how much load it can handle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etter user experience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410191" y="3786594"/>
            <a:ext cx="5107990" cy="294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GB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hat are the key benefits?</a:t>
            </a:r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6310424" y="1134919"/>
            <a:ext cx="5576775" cy="1478885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Participants were acquainted with the concepts of Spring Reactive shared in the program and were able to answer the queries raised in the demo by the leadership team.</a:t>
            </a: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eam set up the required software and created a proof of concept on the local machine, to demonstrate the work and concepts to the leadership, which was appreciated.</a:t>
            </a: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Playbook and use cases implemented can be re-used across retail projects.</a:t>
            </a: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833" y="3203473"/>
            <a:ext cx="5410951" cy="299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US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How are we Solving?</a:t>
            </a:r>
            <a:endParaRPr lang="en-GB" b="1" dirty="0">
              <a:solidFill>
                <a:srgbClr val="00FF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8832" y="1050272"/>
            <a:ext cx="5410951" cy="226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US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What are we Solving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820096"/>
              </p:ext>
            </p:extLst>
          </p:nvPr>
        </p:nvGraphicFramePr>
        <p:xfrm>
          <a:off x="343708" y="159371"/>
          <a:ext cx="11575916" cy="6096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1169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589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err="1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HotHouse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 Name: Spring Reactive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Title: Reactive Programming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MU Name: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Category: Spring Reactive Playbook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Rectangle 17"/>
          <p:cNvSpPr/>
          <p:nvPr/>
        </p:nvSpPr>
        <p:spPr>
          <a:xfrm>
            <a:off x="6353017" y="2548182"/>
            <a:ext cx="5132739" cy="349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GB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ech Stack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457593" y="960068"/>
            <a:ext cx="5429607" cy="349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GB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hat is the outcome and How to re-use ?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A7ABF0E7-FAF0-23E2-16DE-3F85B20A34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045874"/>
              </p:ext>
            </p:extLst>
          </p:nvPr>
        </p:nvGraphicFramePr>
        <p:xfrm>
          <a:off x="6457592" y="2897884"/>
          <a:ext cx="5233666" cy="1188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16833">
                  <a:extLst>
                    <a:ext uri="{9D8B030D-6E8A-4147-A177-3AD203B41FA5}">
                      <a16:colId xmlns:a16="http://schemas.microsoft.com/office/drawing/2014/main" val="2902149450"/>
                    </a:ext>
                  </a:extLst>
                </a:gridCol>
                <a:gridCol w="2616833">
                  <a:extLst>
                    <a:ext uri="{9D8B030D-6E8A-4147-A177-3AD203B41FA5}">
                      <a16:colId xmlns:a16="http://schemas.microsoft.com/office/drawing/2014/main" val="3012133341"/>
                    </a:ext>
                  </a:extLst>
                </a:gridCol>
              </a:tblGrid>
              <a:tr h="833418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Java 17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Spring Boot 3.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Spring Webflu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PostgreSQL database</a:t>
                      </a:r>
                    </a:p>
                    <a:p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Mav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Eclipse(Or Any other IDE)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3912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525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F129BA-7875-BB45-9343-E6ACBBF67E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736EB8-B711-BF2C-1049-E8C61C8DE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F07FCB7D-8A32-2999-1544-D55951BE7C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9614" y="936779"/>
            <a:ext cx="8912772" cy="4118697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r>
              <a:rPr lang="en-GB" b="1" dirty="0">
                <a:latin typeface="+mj-lt"/>
                <a:cs typeface="Arial" panose="020B0604020202020204" pitchFamily="34" charset="0"/>
              </a:rPr>
              <a:t>DU Lead                                                                            Mentors</a:t>
            </a: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Padma Pichakuppan                                                                                                      Vandana Lalit</a:t>
            </a: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                                                      Ram Prakash Singh</a:t>
            </a:r>
          </a:p>
          <a:p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b="1" dirty="0">
                <a:latin typeface="+mj-lt"/>
                <a:cs typeface="Arial" panose="020B0604020202020204" pitchFamily="34" charset="0"/>
              </a:rPr>
              <a:t> </a:t>
            </a:r>
          </a:p>
          <a:p>
            <a:endParaRPr lang="en-GB" sz="1200" b="1" dirty="0">
              <a:latin typeface="+mj-lt"/>
              <a:cs typeface="Arial" panose="020B0604020202020204" pitchFamily="34" charset="0"/>
            </a:endParaRPr>
          </a:p>
          <a:p>
            <a:r>
              <a:rPr lang="en-GB" sz="1200" b="1" dirty="0">
                <a:latin typeface="+mj-lt"/>
                <a:cs typeface="Arial" panose="020B0604020202020204" pitchFamily="34" charset="0"/>
              </a:rPr>
              <a:t>  </a:t>
            </a:r>
          </a:p>
          <a:p>
            <a:r>
              <a:rPr lang="en-GB" b="1" dirty="0">
                <a:latin typeface="+mj-lt"/>
                <a:cs typeface="Arial" panose="020B0604020202020204" pitchFamily="34" charset="0"/>
              </a:rPr>
              <a:t>Delivery Manager                                                                                                        </a:t>
            </a:r>
          </a:p>
          <a:p>
            <a:r>
              <a:rPr lang="en-GB" b="1" dirty="0">
                <a:latin typeface="+mj-lt"/>
                <a:cs typeface="Arial" panose="020B0604020202020204" pitchFamily="34" charset="0"/>
              </a:rPr>
              <a:t>                                                                                           Team Members</a:t>
            </a:r>
          </a:p>
          <a:p>
            <a:r>
              <a:rPr lang="en-GB" sz="1200" dirty="0">
                <a:latin typeface="+mj-lt"/>
                <a:cs typeface="Arial" panose="020B0604020202020204" pitchFamily="34" charset="0"/>
              </a:rPr>
              <a:t>Nidhi Dogra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latin typeface="+mj-lt"/>
                <a:cs typeface="Arial" panose="020B0604020202020204" pitchFamily="34" charset="0"/>
              </a:rPr>
              <a:t>                                                                                                                                           Kajal Jha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latin typeface="+mj-lt"/>
                <a:cs typeface="Arial" panose="020B0604020202020204" pitchFamily="34" charset="0"/>
              </a:rPr>
              <a:t>                                                                                                                                           Prasanna Kumar Barla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latin typeface="+mj-lt"/>
                <a:cs typeface="Arial" panose="020B0604020202020204" pitchFamily="34" charset="0"/>
              </a:rPr>
              <a:t>                                                                                                                                            Bhumi Reddy Amrutha Vani</a:t>
            </a: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3E9FD9-DB73-FF77-887B-5B5E4BF676A6}"/>
              </a:ext>
            </a:extLst>
          </p:cNvPr>
          <p:cNvSpPr txBox="1"/>
          <p:nvPr/>
        </p:nvSpPr>
        <p:spPr>
          <a:xfrm>
            <a:off x="5442856" y="868808"/>
            <a:ext cx="5410951" cy="226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US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Mentor and Hot House Team members</a:t>
            </a:r>
          </a:p>
        </p:txBody>
      </p:sp>
    </p:spTree>
    <p:extLst>
      <p:ext uri="{BB962C8B-B14F-4D97-AF65-F5344CB8AC3E}">
        <p14:creationId xmlns:p14="http://schemas.microsoft.com/office/powerpoint/2010/main" val="3262516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da7249ff9137735267271cf6681d731abd3c386"/>
  <p:tag name="ISPRING_RESOURCE_PATHS_HASH_PRESENTER" val="82532151e9c97188e16f22f45bdf5aa2725d3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FoTCczY06nfjwQOv2d_w"/>
</p:tagLst>
</file>

<file path=ppt/theme/theme1.xml><?xml version="1.0" encoding="utf-8"?>
<a:theme xmlns:a="http://schemas.openxmlformats.org/drawingml/2006/main" name="14-3384 Innovation Council Framework PPT Template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DD4411"/>
      </a:accent1>
      <a:accent2>
        <a:srgbClr val="993399"/>
      </a:accent2>
      <a:accent3>
        <a:srgbClr val="359B4C"/>
      </a:accent3>
      <a:accent4>
        <a:srgbClr val="AADDEE"/>
      </a:accent4>
      <a:accent5>
        <a:srgbClr val="DD4411"/>
      </a:accent5>
      <a:accent6>
        <a:srgbClr val="993399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5A9A6D7E7C6F4D8DA09BC451B87D96" ma:contentTypeVersion="7" ma:contentTypeDescription="Create a new document." ma:contentTypeScope="" ma:versionID="60587c2c8793f868003c844d0142c626">
  <xsd:schema xmlns:xsd="http://www.w3.org/2001/XMLSchema" xmlns:xs="http://www.w3.org/2001/XMLSchema" xmlns:p="http://schemas.microsoft.com/office/2006/metadata/properties" xmlns:ns3="b584acef-3c5c-4054-b84d-0765744ff48d" xmlns:ns4="cc1e997b-5f5d-4c3b-933d-b18a2baba9c7" targetNamespace="http://schemas.microsoft.com/office/2006/metadata/properties" ma:root="true" ma:fieldsID="c1c930aa85cbcb4c9479c95b9cf062a6" ns3:_="" ns4:_="">
    <xsd:import namespace="b584acef-3c5c-4054-b84d-0765744ff48d"/>
    <xsd:import namespace="cc1e997b-5f5d-4c3b-933d-b18a2baba9c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4acef-3c5c-4054-b84d-0765744ff48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1e997b-5f5d-4c3b-933d-b18a2baba9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2F8FF39-A5D2-4C20-89CA-E0BB61C09927}">
  <ds:schemaRefs>
    <ds:schemaRef ds:uri="http://purl.org/dc/terms/"/>
    <ds:schemaRef ds:uri="http://purl.org/dc/dcmitype/"/>
    <ds:schemaRef ds:uri="http://purl.org/dc/elements/1.1/"/>
    <ds:schemaRef ds:uri="b584acef-3c5c-4054-b84d-0765744ff48d"/>
    <ds:schemaRef ds:uri="http://schemas.microsoft.com/office/2006/metadata/properties"/>
    <ds:schemaRef ds:uri="http://schemas.microsoft.com/office/2006/documentManagement/types"/>
    <ds:schemaRef ds:uri="cc1e997b-5f5d-4c3b-933d-b18a2baba9c7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FB9E9F0-A80E-4BC0-BC10-BBDB06BF5F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8027F7-C03D-4EA1-91CC-78A1B9A5F7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84acef-3c5c-4054-b84d-0765744ff48d"/>
    <ds:schemaRef ds:uri="cc1e997b-5f5d-4c3b-933d-b18a2baba9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op_WHT_2</Template>
  <TotalTime>24319</TotalTime>
  <Words>547</Words>
  <Application>Microsoft Office PowerPoint</Application>
  <PresentationFormat>Widescreen</PresentationFormat>
  <Paragraphs>73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Graphik</vt:lpstr>
      <vt:lpstr>Arial Black</vt:lpstr>
      <vt:lpstr>Arial</vt:lpstr>
      <vt:lpstr>14-3384 Innovation Council Framework PPT Template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tion Council</dc:title>
  <dc:creator>Rajiv Khanna</dc:creator>
  <cp:lastModifiedBy>Lalit, Vandana</cp:lastModifiedBy>
  <cp:revision>1135</cp:revision>
  <cp:lastPrinted>2009-05-13T12:37:25Z</cp:lastPrinted>
  <dcterms:created xsi:type="dcterms:W3CDTF">2012-01-18T22:44:04Z</dcterms:created>
  <dcterms:modified xsi:type="dcterms:W3CDTF">2023-04-20T15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5A9A6D7E7C6F4D8DA09BC451B87D96</vt:lpwstr>
  </property>
  <property fmtid="{D5CDD505-2E9C-101B-9397-08002B2CF9AE}" pid="3" name="UserName">
    <vt:lpwstr>samantha.bailey</vt:lpwstr>
  </property>
  <property fmtid="{D5CDD505-2E9C-101B-9397-08002B2CF9AE}" pid="4" name="ComputerName">
    <vt:lpwstr>MW7BCI5QM2O42D</vt:lpwstr>
  </property>
  <property fmtid="{D5CDD505-2E9C-101B-9397-08002B2CF9AE}" pid="5" name="palette_size">
    <vt:lpwstr>4</vt:lpwstr>
  </property>
  <property fmtid="{D5CDD505-2E9C-101B-9397-08002B2CF9AE}" pid="6" name="GUIDE_C1L">
    <vt:lpwstr>35.87504</vt:lpwstr>
  </property>
  <property fmtid="{D5CDD505-2E9C-101B-9397-08002B2CF9AE}" pid="7" name="GUIDE_C1R">
    <vt:lpwstr>246.3307</vt:lpwstr>
  </property>
  <property fmtid="{D5CDD505-2E9C-101B-9397-08002B2CF9AE}" pid="8" name="GUIDE_C2L">
    <vt:lpwstr>254.8346</vt:lpwstr>
  </property>
  <property fmtid="{D5CDD505-2E9C-101B-9397-08002B2CF9AE}" pid="9" name="GUIDE_ML">
    <vt:lpwstr>355.748</vt:lpwstr>
  </property>
  <property fmtid="{D5CDD505-2E9C-101B-9397-08002B2CF9AE}" pid="10" name="GUIDE_MR">
    <vt:lpwstr>364.252</vt:lpwstr>
  </property>
  <property fmtid="{D5CDD505-2E9C-101B-9397-08002B2CF9AE}" pid="11" name="GUIDE_C2R">
    <vt:lpwstr>465.125</vt:lpwstr>
  </property>
  <property fmtid="{D5CDD505-2E9C-101B-9397-08002B2CF9AE}" pid="12" name="GUIDE_C3L">
    <vt:lpwstr>473.75</vt:lpwstr>
  </property>
  <property fmtid="{D5CDD505-2E9C-101B-9397-08002B2CF9AE}" pid="13" name="GUIDE_C3R">
    <vt:lpwstr>684.1251</vt:lpwstr>
  </property>
  <property fmtid="{D5CDD505-2E9C-101B-9397-08002B2CF9AE}" pid="14" name="GUIDE_GTL_R">
    <vt:lpwstr>688</vt:lpwstr>
  </property>
  <property fmtid="{D5CDD505-2E9C-101B-9397-08002B2CF9AE}" pid="15" name="GUIDE_R1">
    <vt:lpwstr>30.62504</vt:lpwstr>
  </property>
  <property fmtid="{D5CDD505-2E9C-101B-9397-08002B2CF9AE}" pid="16" name="GUIDE_R2">
    <vt:lpwstr>83.12504</vt:lpwstr>
  </property>
  <property fmtid="{D5CDD505-2E9C-101B-9397-08002B2CF9AE}" pid="17" name="GUIDE_R3">
    <vt:lpwstr>100.6645</vt:lpwstr>
  </property>
  <property fmtid="{D5CDD505-2E9C-101B-9397-08002B2CF9AE}" pid="18" name="GUIDE_R4">
    <vt:lpwstr>511.25</vt:lpwstr>
  </property>
</Properties>
</file>